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notesSlides/notesSlide5.xml" ContentType="application/vnd.openxmlformats-officedocument.presentationml.notesSlide+xml"/>
  <Override PartName="/ppt/tags/tag9.xml" ContentType="application/vnd.openxmlformats-officedocument.presentationml.tags+xml"/>
  <Override PartName="/ppt/notesSlides/notesSlide6.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7.xml" ContentType="application/vnd.openxmlformats-officedocument.presentationml.notesSlide+xml"/>
  <Override PartName="/ppt/tags/tag13.xml" ContentType="application/vnd.openxmlformats-officedocument.presentationml.tags+xml"/>
  <Override PartName="/ppt/notesSlides/notesSlide8.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9.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60" r:id="rId4"/>
    <p:sldMasterId id="2147483779" r:id="rId5"/>
  </p:sldMasterIdLst>
  <p:notesMasterIdLst>
    <p:notesMasterId r:id="rId18"/>
  </p:notesMasterIdLst>
  <p:handoutMasterIdLst>
    <p:handoutMasterId r:id="rId19"/>
  </p:handoutMasterIdLst>
  <p:sldIdLst>
    <p:sldId id="293" r:id="rId6"/>
    <p:sldId id="257" r:id="rId7"/>
    <p:sldId id="262" r:id="rId8"/>
    <p:sldId id="258" r:id="rId9"/>
    <p:sldId id="300" r:id="rId10"/>
    <p:sldId id="299" r:id="rId11"/>
    <p:sldId id="296" r:id="rId12"/>
    <p:sldId id="297" r:id="rId13"/>
    <p:sldId id="263" r:id="rId14"/>
    <p:sldId id="264" r:id="rId15"/>
    <p:sldId id="301" r:id="rId16"/>
    <p:sldId id="302" r:id="rId17"/>
  </p:sldIdLst>
  <p:sldSz cx="12188825" cy="6858000"/>
  <p:notesSz cx="6858000" cy="9296400"/>
  <p:embeddedFontLst>
    <p:embeddedFont>
      <p:font typeface="Segoe UI Light" pitchFamily="34" charset="0"/>
      <p:regular r:id="rId20"/>
    </p:embeddedFont>
    <p:embeddedFont>
      <p:font typeface="Segoe UI" pitchFamily="34" charset="0"/>
      <p:regular r:id="rId21"/>
      <p:bold r:id="rId22"/>
      <p:italic r:id="rId23"/>
      <p:boldItalic r:id="rId24"/>
    </p:embeddedFont>
    <p:embeddedFont>
      <p:font typeface="Consolas" pitchFamily="49" charset="0"/>
      <p:regular r:id="rId25"/>
      <p:bold r:id="rId26"/>
      <p:italic r:id="rId27"/>
      <p:boldItalic r:id="rId28"/>
    </p:embeddedFont>
  </p:embeddedFontLst>
  <p:custDataLst>
    <p:tags r:id="rId29"/>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247" autoAdjust="0"/>
    <p:restoredTop sz="89076" autoAdjust="0"/>
  </p:normalViewPr>
  <p:slideViewPr>
    <p:cSldViewPr snapToGrid="0">
      <p:cViewPr>
        <p:scale>
          <a:sx n="90" d="100"/>
          <a:sy n="90" d="100"/>
        </p:scale>
        <p:origin x="-744" y="78"/>
      </p:cViewPr>
      <p:guideLst>
        <p:guide orient="horz" pos="895"/>
        <p:guide orient="horz" pos="719"/>
        <p:guide orient="horz" pos="4166"/>
        <p:guide orient="horz" pos="3937"/>
        <p:guide orient="horz" pos="1068"/>
        <p:guide pos="326"/>
        <p:guide pos="7355"/>
      </p:guideLst>
    </p:cSldViewPr>
  </p:slideViewPr>
  <p:notesTextViewPr>
    <p:cViewPr>
      <p:scale>
        <a:sx n="100" d="100"/>
        <a:sy n="100" d="100"/>
      </p:scale>
      <p:origin x="0" y="0"/>
    </p:cViewPr>
  </p:notesTextViewPr>
  <p:sorterViewPr>
    <p:cViewPr>
      <p:scale>
        <a:sx n="60" d="100"/>
        <a:sy n="60" d="100"/>
      </p:scale>
      <p:origin x="0" y="2838"/>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notesMaster" Target="notesMasters/notesMaster1.xml"/><Relationship Id="rId26" Type="http://schemas.openxmlformats.org/officeDocument/2006/relationships/font" Target="fonts/font7.fntdata"/><Relationship Id="rId3" Type="http://schemas.openxmlformats.org/officeDocument/2006/relationships/customXml" Target="../customXml/item3.xml"/><Relationship Id="rId21" Type="http://schemas.openxmlformats.org/officeDocument/2006/relationships/font" Target="fonts/font2.fntdata"/><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font" Target="fonts/font6.fntdata"/><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font" Target="fonts/font1.fntdata"/><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font" Target="fonts/font5.fntdata"/><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font" Target="fonts/font4.fntdata"/><Relationship Id="rId28" Type="http://schemas.openxmlformats.org/officeDocument/2006/relationships/font" Target="fonts/font9.fntdata"/><Relationship Id="rId10" Type="http://schemas.openxmlformats.org/officeDocument/2006/relationships/slide" Target="slides/slide5.xml"/><Relationship Id="rId19" Type="http://schemas.openxmlformats.org/officeDocument/2006/relationships/handoutMaster" Target="handoutMasters/handoutMaster1.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font" Target="fonts/font3.fntdata"/><Relationship Id="rId27" Type="http://schemas.openxmlformats.org/officeDocument/2006/relationships/font" Target="fonts/font8.fntdata"/><Relationship Id="rId30"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3/9/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3/9/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12587344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0</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4913349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3406922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34069226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a:solidFill>
                <a:srgbClr val="292929"/>
              </a:solidFill>
            </a:endParaRPr>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9.emf"/><Relationship Id="rId2" Type="http://schemas.openxmlformats.org/officeDocument/2006/relationships/tags" Target="../tags/tag17.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10.xml"/><Relationship Id="rId4"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notesSlide" Target="../notesSlides/notesSlide2.xml"/><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9.emf"/><Relationship Id="rId5" Type="http://schemas.openxmlformats.org/officeDocument/2006/relationships/oleObject" Target="../embeddings/oleObject4.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9.emf"/><Relationship Id="rId5" Type="http://schemas.openxmlformats.org/officeDocument/2006/relationships/oleObject" Target="../embeddings/oleObject5.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9.emf"/><Relationship Id="rId5" Type="http://schemas.openxmlformats.org/officeDocument/2006/relationships/oleObject" Target="../embeddings/oleObject6.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1.xml"/><Relationship Id="rId7" Type="http://schemas.openxmlformats.org/officeDocument/2006/relationships/oleObject" Target="../embeddings/oleObject7.bin"/><Relationship Id="rId2" Type="http://schemas.openxmlformats.org/officeDocument/2006/relationships/tags" Target="../tags/tag10.xml"/><Relationship Id="rId1" Type="http://schemas.openxmlformats.org/officeDocument/2006/relationships/vmlDrawing" Target="../drawings/vmlDrawing7.vml"/><Relationship Id="rId6" Type="http://schemas.openxmlformats.org/officeDocument/2006/relationships/notesSlide" Target="../notesSlides/notesSlide7.xml"/><Relationship Id="rId5" Type="http://schemas.openxmlformats.org/officeDocument/2006/relationships/slideLayout" Target="../slideLayouts/slideLayout3.xml"/><Relationship Id="rId4" Type="http://schemas.openxmlformats.org/officeDocument/2006/relationships/tags" Target="../tags/tag12.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image" Target="../media/image9.emf"/><Relationship Id="rId5" Type="http://schemas.openxmlformats.org/officeDocument/2006/relationships/oleObject" Target="../embeddings/oleObject8.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5.xml"/><Relationship Id="rId7" Type="http://schemas.openxmlformats.org/officeDocument/2006/relationships/oleObject" Target="../embeddings/oleObject9.bin"/><Relationship Id="rId2" Type="http://schemas.openxmlformats.org/officeDocument/2006/relationships/tags" Target="../tags/tag14.xml"/><Relationship Id="rId1" Type="http://schemas.openxmlformats.org/officeDocument/2006/relationships/vmlDrawing" Target="../drawings/vmlDrawing9.vml"/><Relationship Id="rId6" Type="http://schemas.openxmlformats.org/officeDocument/2006/relationships/notesSlide" Target="../notesSlides/notesSlide9.xml"/><Relationship Id="rId5" Type="http://schemas.openxmlformats.org/officeDocument/2006/relationships/slideLayout" Target="../slideLayouts/slideLayout3.xml"/><Relationship Id="rId4" Type="http://schemas.openxmlformats.org/officeDocument/2006/relationships/tags" Target="../tags/tag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43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p:txBody>
          <a:bodyPr/>
          <a:lstStyle/>
          <a:p>
            <a:r>
              <a:rPr lang="en-US" sz="6000" dirty="0" err="1" smtClean="0"/>
              <a:t>WebMatrix</a:t>
            </a:r>
            <a:r>
              <a:rPr lang="en-US" sz="6000" dirty="0" smtClean="0"/>
              <a:t> 2.0</a:t>
            </a:r>
            <a:br>
              <a:rPr lang="en-US" sz="6000" dirty="0" smtClean="0"/>
            </a:br>
            <a:r>
              <a:rPr lang="en-US" sz="2400" dirty="0" smtClean="0"/>
              <a:t>The Most Comprehensive IDE You Never Remember</a:t>
            </a:r>
            <a:endParaRPr lang="en-US" sz="2400" dirty="0"/>
          </a:p>
        </p:txBody>
      </p:sp>
      <p:sp>
        <p:nvSpPr>
          <p:cNvPr id="7" name="Text Placeholder 6"/>
          <p:cNvSpPr>
            <a:spLocks noGrp="1"/>
          </p:cNvSpPr>
          <p:nvPr>
            <p:ph type="body" sz="quarter" idx="11"/>
          </p:nvPr>
        </p:nvSpPr>
        <p:spPr>
          <a:xfrm>
            <a:off x="519113" y="4612341"/>
            <a:ext cx="5454333" cy="1144929"/>
          </a:xfrm>
        </p:spPr>
        <p:txBody>
          <a:bodyPr/>
          <a:lstStyle/>
          <a:p>
            <a:r>
              <a:rPr lang="en-US" dirty="0" smtClean="0"/>
              <a:t>Name</a:t>
            </a:r>
          </a:p>
          <a:p>
            <a:r>
              <a:rPr lang="en-US" dirty="0" smtClean="0"/>
              <a:t>Title</a:t>
            </a:r>
          </a:p>
          <a:p>
            <a:r>
              <a:rPr lang="en-US" dirty="0" smtClean="0"/>
              <a:t>Microsoft </a:t>
            </a:r>
            <a:r>
              <a:rPr lang="en-US" dirty="0"/>
              <a:t>Corporation</a:t>
            </a:r>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01917469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77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a:xfrm>
            <a:off x="1889125" y="1447800"/>
            <a:ext cx="5107098" cy="1523494"/>
          </a:xfrm>
        </p:spPr>
        <p:txBody>
          <a:bodyPr/>
          <a:lstStyle/>
          <a:p>
            <a:r>
              <a:rPr lang="en-US" dirty="0" smtClean="0"/>
              <a:t>Creating New Sites</a:t>
            </a:r>
            <a:endParaRPr lang="en-US" dirty="0"/>
          </a:p>
        </p:txBody>
      </p:sp>
      <p:sp>
        <p:nvSpPr>
          <p:cNvPr id="7" name="Subtitle 6"/>
          <p:cNvSpPr>
            <a:spLocks noGrp="1"/>
          </p:cNvSpPr>
          <p:nvPr>
            <p:ph type="subTitle" idx="1"/>
          </p:nvPr>
        </p:nvSpPr>
        <p:spPr>
          <a:xfrm>
            <a:off x="1889124" y="5630472"/>
            <a:ext cx="6106560" cy="461665"/>
          </a:xfrm>
        </p:spPr>
        <p:txBody>
          <a:bodyPr/>
          <a:lstStyle/>
          <a:p>
            <a:r>
              <a:rPr lang="en-US" dirty="0" smtClean="0"/>
              <a:t>Using </a:t>
            </a:r>
            <a:r>
              <a:rPr lang="en-US" dirty="0" err="1" smtClean="0"/>
              <a:t>WebMatrix</a:t>
            </a:r>
            <a:r>
              <a:rPr lang="en-US" dirty="0" smtClean="0"/>
              <a:t> Templates</a:t>
            </a:r>
            <a:endParaRPr lang="en-US" dirty="0"/>
          </a:p>
        </p:txBody>
      </p:sp>
      <p:sp>
        <p:nvSpPr>
          <p:cNvPr id="6" name="Text Placeholder 5"/>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319233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dirty="0" smtClean="0"/>
              <a:t>Razor</a:t>
            </a:r>
            <a:endParaRPr lang="en-US" dirty="0"/>
          </a:p>
        </p:txBody>
      </p:sp>
    </p:spTree>
    <p:extLst>
      <p:ext uri="{BB962C8B-B14F-4D97-AF65-F5344CB8AC3E}">
        <p14:creationId xmlns:p14="http://schemas.microsoft.com/office/powerpoint/2010/main" val="1201416295"/>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19112" y="228600"/>
            <a:ext cx="11149013" cy="1495794"/>
          </a:xfrm>
        </p:spPr>
        <p:txBody>
          <a:bodyPr/>
          <a:lstStyle/>
          <a:p>
            <a:r>
              <a:rPr lang="en-US" dirty="0" smtClean="0"/>
              <a:t>Start copying from “04-Learning WebMatrix.pptx”</a:t>
            </a:r>
            <a:endParaRPr lang="en-US" dirty="0"/>
          </a:p>
        </p:txBody>
      </p:sp>
    </p:spTree>
    <p:extLst>
      <p:ext uri="{BB962C8B-B14F-4D97-AF65-F5344CB8AC3E}">
        <p14:creationId xmlns:p14="http://schemas.microsoft.com/office/powerpoint/2010/main" val="236793729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01"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smtClean="0"/>
              <a:t>Agenda </a:t>
            </a:r>
            <a:endParaRPr lang="en-US" dirty="0"/>
          </a:p>
        </p:txBody>
      </p:sp>
      <p:sp>
        <p:nvSpPr>
          <p:cNvPr id="6" name="Content Placeholder 5"/>
          <p:cNvSpPr>
            <a:spLocks noGrp="1"/>
          </p:cNvSpPr>
          <p:nvPr>
            <p:ph type="body" sz="quarter" idx="11"/>
            <p:custDataLst>
              <p:tags r:id="rId4"/>
            </p:custDataLst>
          </p:nvPr>
        </p:nvSpPr>
        <p:spPr>
          <a:xfrm>
            <a:off x="3473803" y="3029093"/>
            <a:ext cx="8202259" cy="2019014"/>
          </a:xfrm>
        </p:spPr>
        <p:txBody>
          <a:bodyPr/>
          <a:lstStyle/>
          <a:p>
            <a:r>
              <a:rPr lang="en-US" sz="3200" dirty="0" smtClean="0"/>
              <a:t>First Topic</a:t>
            </a:r>
          </a:p>
          <a:p>
            <a:r>
              <a:rPr lang="en-US" sz="3200" dirty="0" smtClean="0"/>
              <a:t>Second Topic</a:t>
            </a:r>
          </a:p>
          <a:p>
            <a:r>
              <a:rPr lang="en-US" sz="3200" dirty="0" smtClean="0"/>
              <a:t>Third Topic</a:t>
            </a:r>
            <a:endParaRPr lang="en-US" sz="3200" dirty="0"/>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735931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72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Getting Started</a:t>
            </a:r>
            <a:endParaRPr lang="en-US" dirty="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066111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5635487" y="1695450"/>
            <a:ext cx="6040576" cy="40891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01394407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62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p:txBody>
          <a:bodyPr/>
          <a:lstStyle/>
          <a:p>
            <a:r>
              <a:rPr lang="en-US" dirty="0" err="1" smtClean="0"/>
              <a:t>WebMatrix</a:t>
            </a:r>
            <a:r>
              <a:rPr lang="en-US" dirty="0" smtClean="0"/>
              <a:t> gives you options</a:t>
            </a:r>
            <a:endParaRPr lang="en-US" dirty="0"/>
          </a:p>
        </p:txBody>
      </p:sp>
      <p:sp>
        <p:nvSpPr>
          <p:cNvPr id="5" name="Text Placeholder 4"/>
          <p:cNvSpPr>
            <a:spLocks noGrp="1"/>
          </p:cNvSpPr>
          <p:nvPr>
            <p:ph type="body" sz="quarter" idx="10"/>
          </p:nvPr>
        </p:nvSpPr>
        <p:spPr>
          <a:xfrm>
            <a:off x="519112" y="3463013"/>
            <a:ext cx="5116375" cy="553998"/>
          </a:xfrm>
        </p:spPr>
        <p:txBody>
          <a:bodyPr/>
          <a:lstStyle/>
          <a:p>
            <a:r>
              <a:rPr lang="en-US" dirty="0" smtClean="0"/>
              <a:t>Start with a template</a:t>
            </a:r>
            <a:endParaRPr lang="en-US" dirty="0"/>
          </a:p>
        </p:txBody>
      </p:sp>
      <p:sp>
        <p:nvSpPr>
          <p:cNvPr id="15" name="Freeform 21"/>
          <p:cNvSpPr>
            <a:spLocks noEditPoints="1"/>
          </p:cNvSpPr>
          <p:nvPr/>
        </p:nvSpPr>
        <p:spPr bwMode="black">
          <a:xfrm>
            <a:off x="7461759" y="2546307"/>
            <a:ext cx="2388032" cy="2387410"/>
          </a:xfrm>
          <a:custGeom>
            <a:avLst/>
            <a:gdLst>
              <a:gd name="T0" fmla="*/ 75 w 300"/>
              <a:gd name="T1" fmla="*/ 60 h 300"/>
              <a:gd name="T2" fmla="*/ 37 w 300"/>
              <a:gd name="T3" fmla="*/ 52 h 300"/>
              <a:gd name="T4" fmla="*/ 0 w 300"/>
              <a:gd name="T5" fmla="*/ 60 h 300"/>
              <a:gd name="T6" fmla="*/ 0 w 300"/>
              <a:gd name="T7" fmla="*/ 15 h 300"/>
              <a:gd name="T8" fmla="*/ 37 w 300"/>
              <a:gd name="T9" fmla="*/ 22 h 300"/>
              <a:gd name="T10" fmla="*/ 75 w 300"/>
              <a:gd name="T11" fmla="*/ 15 h 300"/>
              <a:gd name="T12" fmla="*/ 300 w 300"/>
              <a:gd name="T13" fmla="*/ 15 h 300"/>
              <a:gd name="T14" fmla="*/ 262 w 300"/>
              <a:gd name="T15" fmla="*/ 22 h 300"/>
              <a:gd name="T16" fmla="*/ 225 w 300"/>
              <a:gd name="T17" fmla="*/ 15 h 300"/>
              <a:gd name="T18" fmla="*/ 225 w 300"/>
              <a:gd name="T19" fmla="*/ 60 h 300"/>
              <a:gd name="T20" fmla="*/ 262 w 300"/>
              <a:gd name="T21" fmla="*/ 52 h 300"/>
              <a:gd name="T22" fmla="*/ 300 w 300"/>
              <a:gd name="T23" fmla="*/ 60 h 300"/>
              <a:gd name="T24" fmla="*/ 300 w 300"/>
              <a:gd name="T25" fmla="*/ 15 h 300"/>
              <a:gd name="T26" fmla="*/ 173 w 300"/>
              <a:gd name="T27" fmla="*/ 0 h 300"/>
              <a:gd name="T28" fmla="*/ 128 w 300"/>
              <a:gd name="T29" fmla="*/ 0 h 300"/>
              <a:gd name="T30" fmla="*/ 135 w 300"/>
              <a:gd name="T31" fmla="*/ 37 h 300"/>
              <a:gd name="T32" fmla="*/ 128 w 300"/>
              <a:gd name="T33" fmla="*/ 75 h 300"/>
              <a:gd name="T34" fmla="*/ 173 w 300"/>
              <a:gd name="T35" fmla="*/ 75 h 300"/>
              <a:gd name="T36" fmla="*/ 165 w 300"/>
              <a:gd name="T37" fmla="*/ 37 h 300"/>
              <a:gd name="T38" fmla="*/ 38 w 300"/>
              <a:gd name="T39" fmla="*/ 225 h 300"/>
              <a:gd name="T40" fmla="*/ 38 w 300"/>
              <a:gd name="T41" fmla="*/ 300 h 300"/>
              <a:gd name="T42" fmla="*/ 38 w 300"/>
              <a:gd name="T43" fmla="*/ 225 h 300"/>
              <a:gd name="T44" fmla="*/ 38 w 300"/>
              <a:gd name="T45" fmla="*/ 277 h 300"/>
              <a:gd name="T46" fmla="*/ 38 w 300"/>
              <a:gd name="T47" fmla="*/ 247 h 300"/>
              <a:gd name="T48" fmla="*/ 150 w 300"/>
              <a:gd name="T49" fmla="*/ 225 h 300"/>
              <a:gd name="T50" fmla="*/ 150 w 300"/>
              <a:gd name="T51" fmla="*/ 300 h 300"/>
              <a:gd name="T52" fmla="*/ 150 w 300"/>
              <a:gd name="T53" fmla="*/ 225 h 300"/>
              <a:gd name="T54" fmla="*/ 150 w 300"/>
              <a:gd name="T55" fmla="*/ 277 h 300"/>
              <a:gd name="T56" fmla="*/ 150 w 300"/>
              <a:gd name="T57" fmla="*/ 247 h 300"/>
              <a:gd name="T58" fmla="*/ 263 w 300"/>
              <a:gd name="T59" fmla="*/ 225 h 300"/>
              <a:gd name="T60" fmla="*/ 263 w 300"/>
              <a:gd name="T61" fmla="*/ 300 h 300"/>
              <a:gd name="T62" fmla="*/ 263 w 300"/>
              <a:gd name="T63" fmla="*/ 225 h 300"/>
              <a:gd name="T64" fmla="*/ 263 w 300"/>
              <a:gd name="T65" fmla="*/ 277 h 300"/>
              <a:gd name="T66" fmla="*/ 263 w 300"/>
              <a:gd name="T67" fmla="*/ 247 h 300"/>
              <a:gd name="T68" fmla="*/ 162 w 300"/>
              <a:gd name="T69" fmla="*/ 162 h 300"/>
              <a:gd name="T70" fmla="*/ 257 w 300"/>
              <a:gd name="T71" fmla="*/ 174 h 300"/>
              <a:gd name="T72" fmla="*/ 269 w 300"/>
              <a:gd name="T73" fmla="*/ 207 h 300"/>
              <a:gd name="T74" fmla="*/ 162 w 300"/>
              <a:gd name="T75" fmla="*/ 162 h 300"/>
              <a:gd name="T76" fmla="*/ 60 w 300"/>
              <a:gd name="T77" fmla="*/ 166 h 300"/>
              <a:gd name="T78" fmla="*/ 138 w 300"/>
              <a:gd name="T79" fmla="*/ 174 h 300"/>
              <a:gd name="T80" fmla="*/ 65 w 300"/>
              <a:gd name="T81" fmla="*/ 162 h 300"/>
              <a:gd name="T82" fmla="*/ 9 w 300"/>
              <a:gd name="T83" fmla="*/ 105 h 300"/>
              <a:gd name="T84" fmla="*/ 32 w 300"/>
              <a:gd name="T85" fmla="*/ 167 h 300"/>
              <a:gd name="T86" fmla="*/ 44 w 300"/>
              <a:gd name="T87" fmla="*/ 148 h 300"/>
              <a:gd name="T88" fmla="*/ 66 w 300"/>
              <a:gd name="T89" fmla="*/ 105 h 300"/>
              <a:gd name="T90" fmla="*/ 215 w 300"/>
              <a:gd name="T91" fmla="*/ 85 h 300"/>
              <a:gd name="T92" fmla="*/ 231 w 300"/>
              <a:gd name="T93" fmla="*/ 101 h 300"/>
              <a:gd name="T94" fmla="*/ 162 w 300"/>
              <a:gd name="T95" fmla="*/ 149 h 300"/>
              <a:gd name="T96" fmla="*/ 255 w 300"/>
              <a:gd name="T97" fmla="*/ 125 h 300"/>
              <a:gd name="T98" fmla="*/ 215 w 300"/>
              <a:gd name="T99" fmla="*/ 85 h 300"/>
              <a:gd name="T100" fmla="*/ 47 w 300"/>
              <a:gd name="T101" fmla="*/ 153 h 300"/>
              <a:gd name="T102" fmla="*/ 35 w 300"/>
              <a:gd name="T103" fmla="*/ 174 h 300"/>
              <a:gd name="T104" fmla="*/ 44 w 300"/>
              <a:gd name="T105" fmla="*/ 207 h 300"/>
              <a:gd name="T106" fmla="*/ 55 w 300"/>
              <a:gd name="T107" fmla="*/ 162 h 300"/>
              <a:gd name="T108" fmla="*/ 110 w 300"/>
              <a:gd name="T109" fmla="*/ 151 h 300"/>
              <a:gd name="T110" fmla="*/ 138 w 300"/>
              <a:gd name="T111" fmla="*/ 139 h 300"/>
              <a:gd name="T112" fmla="*/ 179 w 300"/>
              <a:gd name="T113" fmla="*/ 105 h 300"/>
              <a:gd name="T114" fmla="*/ 122 w 300"/>
              <a:gd name="T115" fmla="*/ 105 h 300"/>
              <a:gd name="T116" fmla="*/ 144 w 300"/>
              <a:gd name="T117" fmla="*/ 207 h 300"/>
              <a:gd name="T118" fmla="*/ 156 w 300"/>
              <a:gd name="T119" fmla="*/ 10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00" h="300">
                <a:moveTo>
                  <a:pt x="52" y="37"/>
                </a:moveTo>
                <a:cubicBezTo>
                  <a:pt x="75" y="60"/>
                  <a:pt x="75" y="60"/>
                  <a:pt x="75" y="60"/>
                </a:cubicBezTo>
                <a:cubicBezTo>
                  <a:pt x="60" y="75"/>
                  <a:pt x="60" y="75"/>
                  <a:pt x="60" y="75"/>
                </a:cubicBezTo>
                <a:cubicBezTo>
                  <a:pt x="37" y="52"/>
                  <a:pt x="37" y="52"/>
                  <a:pt x="37" y="52"/>
                </a:cubicBezTo>
                <a:cubicBezTo>
                  <a:pt x="15" y="75"/>
                  <a:pt x="15" y="75"/>
                  <a:pt x="15" y="75"/>
                </a:cubicBezTo>
                <a:cubicBezTo>
                  <a:pt x="0" y="60"/>
                  <a:pt x="0" y="60"/>
                  <a:pt x="0" y="60"/>
                </a:cubicBezTo>
                <a:cubicBezTo>
                  <a:pt x="23" y="37"/>
                  <a:pt x="23" y="37"/>
                  <a:pt x="23" y="37"/>
                </a:cubicBezTo>
                <a:cubicBezTo>
                  <a:pt x="0" y="15"/>
                  <a:pt x="0" y="15"/>
                  <a:pt x="0" y="15"/>
                </a:cubicBezTo>
                <a:cubicBezTo>
                  <a:pt x="15" y="0"/>
                  <a:pt x="15" y="0"/>
                  <a:pt x="15" y="0"/>
                </a:cubicBezTo>
                <a:cubicBezTo>
                  <a:pt x="37" y="22"/>
                  <a:pt x="37" y="22"/>
                  <a:pt x="37" y="22"/>
                </a:cubicBezTo>
                <a:cubicBezTo>
                  <a:pt x="60" y="0"/>
                  <a:pt x="60" y="0"/>
                  <a:pt x="60" y="0"/>
                </a:cubicBezTo>
                <a:cubicBezTo>
                  <a:pt x="75" y="15"/>
                  <a:pt x="75" y="15"/>
                  <a:pt x="75" y="15"/>
                </a:cubicBezTo>
                <a:lnTo>
                  <a:pt x="52" y="37"/>
                </a:lnTo>
                <a:close/>
                <a:moveTo>
                  <a:pt x="300" y="15"/>
                </a:moveTo>
                <a:cubicBezTo>
                  <a:pt x="285" y="0"/>
                  <a:pt x="285" y="0"/>
                  <a:pt x="285" y="0"/>
                </a:cubicBezTo>
                <a:cubicBezTo>
                  <a:pt x="262" y="22"/>
                  <a:pt x="262" y="22"/>
                  <a:pt x="262" y="22"/>
                </a:cubicBezTo>
                <a:cubicBezTo>
                  <a:pt x="240" y="0"/>
                  <a:pt x="240" y="0"/>
                  <a:pt x="240" y="0"/>
                </a:cubicBezTo>
                <a:cubicBezTo>
                  <a:pt x="225" y="15"/>
                  <a:pt x="225" y="15"/>
                  <a:pt x="225" y="15"/>
                </a:cubicBezTo>
                <a:cubicBezTo>
                  <a:pt x="248" y="37"/>
                  <a:pt x="248" y="37"/>
                  <a:pt x="248" y="37"/>
                </a:cubicBezTo>
                <a:cubicBezTo>
                  <a:pt x="225" y="60"/>
                  <a:pt x="225" y="60"/>
                  <a:pt x="225" y="60"/>
                </a:cubicBezTo>
                <a:cubicBezTo>
                  <a:pt x="240" y="75"/>
                  <a:pt x="240" y="75"/>
                  <a:pt x="240" y="75"/>
                </a:cubicBezTo>
                <a:cubicBezTo>
                  <a:pt x="262" y="52"/>
                  <a:pt x="262" y="52"/>
                  <a:pt x="262" y="52"/>
                </a:cubicBezTo>
                <a:cubicBezTo>
                  <a:pt x="285" y="75"/>
                  <a:pt x="285" y="75"/>
                  <a:pt x="285" y="75"/>
                </a:cubicBezTo>
                <a:cubicBezTo>
                  <a:pt x="300" y="60"/>
                  <a:pt x="300" y="60"/>
                  <a:pt x="300" y="60"/>
                </a:cubicBezTo>
                <a:cubicBezTo>
                  <a:pt x="277" y="37"/>
                  <a:pt x="277" y="37"/>
                  <a:pt x="277" y="37"/>
                </a:cubicBezTo>
                <a:lnTo>
                  <a:pt x="300" y="15"/>
                </a:lnTo>
                <a:close/>
                <a:moveTo>
                  <a:pt x="188" y="15"/>
                </a:moveTo>
                <a:cubicBezTo>
                  <a:pt x="173" y="0"/>
                  <a:pt x="173" y="0"/>
                  <a:pt x="173" y="0"/>
                </a:cubicBezTo>
                <a:cubicBezTo>
                  <a:pt x="150" y="22"/>
                  <a:pt x="150" y="22"/>
                  <a:pt x="150" y="22"/>
                </a:cubicBezTo>
                <a:cubicBezTo>
                  <a:pt x="128" y="0"/>
                  <a:pt x="128" y="0"/>
                  <a:pt x="128" y="0"/>
                </a:cubicBezTo>
                <a:cubicBezTo>
                  <a:pt x="113" y="15"/>
                  <a:pt x="113" y="15"/>
                  <a:pt x="113" y="15"/>
                </a:cubicBezTo>
                <a:cubicBezTo>
                  <a:pt x="135" y="37"/>
                  <a:pt x="135" y="37"/>
                  <a:pt x="135" y="37"/>
                </a:cubicBezTo>
                <a:cubicBezTo>
                  <a:pt x="113" y="60"/>
                  <a:pt x="113" y="60"/>
                  <a:pt x="113" y="60"/>
                </a:cubicBezTo>
                <a:cubicBezTo>
                  <a:pt x="128" y="75"/>
                  <a:pt x="128" y="75"/>
                  <a:pt x="128" y="75"/>
                </a:cubicBezTo>
                <a:cubicBezTo>
                  <a:pt x="150" y="52"/>
                  <a:pt x="150" y="52"/>
                  <a:pt x="150" y="52"/>
                </a:cubicBezTo>
                <a:cubicBezTo>
                  <a:pt x="173" y="75"/>
                  <a:pt x="173" y="75"/>
                  <a:pt x="173" y="75"/>
                </a:cubicBezTo>
                <a:cubicBezTo>
                  <a:pt x="188" y="60"/>
                  <a:pt x="188" y="60"/>
                  <a:pt x="188" y="60"/>
                </a:cubicBezTo>
                <a:cubicBezTo>
                  <a:pt x="165" y="37"/>
                  <a:pt x="165" y="37"/>
                  <a:pt x="165" y="37"/>
                </a:cubicBezTo>
                <a:lnTo>
                  <a:pt x="188" y="15"/>
                </a:lnTo>
                <a:close/>
                <a:moveTo>
                  <a:pt x="38" y="225"/>
                </a:moveTo>
                <a:cubicBezTo>
                  <a:pt x="17" y="225"/>
                  <a:pt x="0" y="242"/>
                  <a:pt x="0" y="262"/>
                </a:cubicBezTo>
                <a:cubicBezTo>
                  <a:pt x="0" y="283"/>
                  <a:pt x="17" y="300"/>
                  <a:pt x="38" y="300"/>
                </a:cubicBezTo>
                <a:cubicBezTo>
                  <a:pt x="58" y="300"/>
                  <a:pt x="75" y="283"/>
                  <a:pt x="75" y="262"/>
                </a:cubicBezTo>
                <a:cubicBezTo>
                  <a:pt x="75" y="242"/>
                  <a:pt x="58" y="225"/>
                  <a:pt x="38" y="225"/>
                </a:cubicBezTo>
                <a:close/>
                <a:moveTo>
                  <a:pt x="53" y="262"/>
                </a:moveTo>
                <a:cubicBezTo>
                  <a:pt x="53" y="271"/>
                  <a:pt x="46" y="277"/>
                  <a:pt x="38" y="277"/>
                </a:cubicBezTo>
                <a:cubicBezTo>
                  <a:pt x="29" y="277"/>
                  <a:pt x="23" y="271"/>
                  <a:pt x="23" y="262"/>
                </a:cubicBezTo>
                <a:cubicBezTo>
                  <a:pt x="23" y="254"/>
                  <a:pt x="29" y="247"/>
                  <a:pt x="38" y="247"/>
                </a:cubicBezTo>
                <a:cubicBezTo>
                  <a:pt x="46" y="247"/>
                  <a:pt x="53" y="254"/>
                  <a:pt x="53" y="262"/>
                </a:cubicBezTo>
                <a:close/>
                <a:moveTo>
                  <a:pt x="150" y="225"/>
                </a:moveTo>
                <a:cubicBezTo>
                  <a:pt x="129" y="225"/>
                  <a:pt x="113" y="242"/>
                  <a:pt x="113" y="262"/>
                </a:cubicBezTo>
                <a:cubicBezTo>
                  <a:pt x="113" y="283"/>
                  <a:pt x="129" y="300"/>
                  <a:pt x="150" y="300"/>
                </a:cubicBezTo>
                <a:cubicBezTo>
                  <a:pt x="171" y="300"/>
                  <a:pt x="188" y="283"/>
                  <a:pt x="188" y="262"/>
                </a:cubicBezTo>
                <a:cubicBezTo>
                  <a:pt x="188" y="242"/>
                  <a:pt x="171" y="225"/>
                  <a:pt x="150" y="225"/>
                </a:cubicBezTo>
                <a:close/>
                <a:moveTo>
                  <a:pt x="165" y="262"/>
                </a:moveTo>
                <a:cubicBezTo>
                  <a:pt x="165" y="271"/>
                  <a:pt x="158" y="277"/>
                  <a:pt x="150" y="277"/>
                </a:cubicBezTo>
                <a:cubicBezTo>
                  <a:pt x="142" y="277"/>
                  <a:pt x="135" y="271"/>
                  <a:pt x="135" y="262"/>
                </a:cubicBezTo>
                <a:cubicBezTo>
                  <a:pt x="135" y="254"/>
                  <a:pt x="142" y="247"/>
                  <a:pt x="150" y="247"/>
                </a:cubicBezTo>
                <a:cubicBezTo>
                  <a:pt x="158" y="247"/>
                  <a:pt x="165" y="254"/>
                  <a:pt x="165" y="262"/>
                </a:cubicBezTo>
                <a:close/>
                <a:moveTo>
                  <a:pt x="263" y="225"/>
                </a:moveTo>
                <a:cubicBezTo>
                  <a:pt x="242" y="225"/>
                  <a:pt x="225" y="242"/>
                  <a:pt x="225" y="262"/>
                </a:cubicBezTo>
                <a:cubicBezTo>
                  <a:pt x="225" y="283"/>
                  <a:pt x="242" y="300"/>
                  <a:pt x="263" y="300"/>
                </a:cubicBezTo>
                <a:cubicBezTo>
                  <a:pt x="283" y="300"/>
                  <a:pt x="300" y="283"/>
                  <a:pt x="300" y="262"/>
                </a:cubicBezTo>
                <a:cubicBezTo>
                  <a:pt x="300" y="242"/>
                  <a:pt x="283" y="225"/>
                  <a:pt x="263" y="225"/>
                </a:cubicBezTo>
                <a:close/>
                <a:moveTo>
                  <a:pt x="278" y="262"/>
                </a:moveTo>
                <a:cubicBezTo>
                  <a:pt x="278" y="271"/>
                  <a:pt x="271" y="277"/>
                  <a:pt x="263" y="277"/>
                </a:cubicBezTo>
                <a:cubicBezTo>
                  <a:pt x="254" y="277"/>
                  <a:pt x="248" y="271"/>
                  <a:pt x="248" y="262"/>
                </a:cubicBezTo>
                <a:cubicBezTo>
                  <a:pt x="248" y="254"/>
                  <a:pt x="254" y="247"/>
                  <a:pt x="263" y="247"/>
                </a:cubicBezTo>
                <a:cubicBezTo>
                  <a:pt x="271" y="247"/>
                  <a:pt x="278" y="254"/>
                  <a:pt x="278" y="262"/>
                </a:cubicBezTo>
                <a:close/>
                <a:moveTo>
                  <a:pt x="162" y="162"/>
                </a:moveTo>
                <a:cubicBezTo>
                  <a:pt x="162" y="174"/>
                  <a:pt x="162" y="174"/>
                  <a:pt x="162" y="174"/>
                </a:cubicBezTo>
                <a:cubicBezTo>
                  <a:pt x="257" y="174"/>
                  <a:pt x="257" y="174"/>
                  <a:pt x="257" y="174"/>
                </a:cubicBezTo>
                <a:cubicBezTo>
                  <a:pt x="257" y="207"/>
                  <a:pt x="257" y="207"/>
                  <a:pt x="257" y="207"/>
                </a:cubicBezTo>
                <a:cubicBezTo>
                  <a:pt x="269" y="207"/>
                  <a:pt x="269" y="207"/>
                  <a:pt x="269" y="207"/>
                </a:cubicBezTo>
                <a:cubicBezTo>
                  <a:pt x="269" y="162"/>
                  <a:pt x="269" y="162"/>
                  <a:pt x="269" y="162"/>
                </a:cubicBezTo>
                <a:lnTo>
                  <a:pt x="162" y="162"/>
                </a:lnTo>
                <a:close/>
                <a:moveTo>
                  <a:pt x="65" y="162"/>
                </a:moveTo>
                <a:cubicBezTo>
                  <a:pt x="63" y="163"/>
                  <a:pt x="62" y="164"/>
                  <a:pt x="60" y="166"/>
                </a:cubicBezTo>
                <a:cubicBezTo>
                  <a:pt x="58" y="168"/>
                  <a:pt x="56" y="171"/>
                  <a:pt x="55" y="174"/>
                </a:cubicBezTo>
                <a:cubicBezTo>
                  <a:pt x="138" y="174"/>
                  <a:pt x="138" y="174"/>
                  <a:pt x="138" y="174"/>
                </a:cubicBezTo>
                <a:cubicBezTo>
                  <a:pt x="138" y="162"/>
                  <a:pt x="138" y="162"/>
                  <a:pt x="138" y="162"/>
                </a:cubicBezTo>
                <a:lnTo>
                  <a:pt x="65" y="162"/>
                </a:lnTo>
                <a:close/>
                <a:moveTo>
                  <a:pt x="38" y="76"/>
                </a:moveTo>
                <a:cubicBezTo>
                  <a:pt x="9" y="105"/>
                  <a:pt x="9" y="105"/>
                  <a:pt x="9" y="105"/>
                </a:cubicBezTo>
                <a:cubicBezTo>
                  <a:pt x="32" y="105"/>
                  <a:pt x="32" y="105"/>
                  <a:pt x="32" y="105"/>
                </a:cubicBezTo>
                <a:cubicBezTo>
                  <a:pt x="32" y="167"/>
                  <a:pt x="32" y="167"/>
                  <a:pt x="32" y="167"/>
                </a:cubicBezTo>
                <a:cubicBezTo>
                  <a:pt x="34" y="160"/>
                  <a:pt x="38" y="154"/>
                  <a:pt x="43" y="149"/>
                </a:cubicBezTo>
                <a:cubicBezTo>
                  <a:pt x="43" y="149"/>
                  <a:pt x="43" y="148"/>
                  <a:pt x="44" y="148"/>
                </a:cubicBezTo>
                <a:cubicBezTo>
                  <a:pt x="44" y="105"/>
                  <a:pt x="44" y="105"/>
                  <a:pt x="44" y="105"/>
                </a:cubicBezTo>
                <a:cubicBezTo>
                  <a:pt x="66" y="105"/>
                  <a:pt x="66" y="105"/>
                  <a:pt x="66" y="105"/>
                </a:cubicBezTo>
                <a:lnTo>
                  <a:pt x="38" y="76"/>
                </a:lnTo>
                <a:close/>
                <a:moveTo>
                  <a:pt x="215" y="85"/>
                </a:moveTo>
                <a:cubicBezTo>
                  <a:pt x="235" y="105"/>
                  <a:pt x="235" y="105"/>
                  <a:pt x="235" y="105"/>
                </a:cubicBezTo>
                <a:cubicBezTo>
                  <a:pt x="231" y="101"/>
                  <a:pt x="231" y="101"/>
                  <a:pt x="231" y="101"/>
                </a:cubicBezTo>
                <a:cubicBezTo>
                  <a:pt x="208" y="123"/>
                  <a:pt x="185" y="133"/>
                  <a:pt x="162" y="137"/>
                </a:cubicBezTo>
                <a:cubicBezTo>
                  <a:pt x="162" y="149"/>
                  <a:pt x="162" y="149"/>
                  <a:pt x="162" y="149"/>
                </a:cubicBezTo>
                <a:cubicBezTo>
                  <a:pt x="187" y="145"/>
                  <a:pt x="214" y="135"/>
                  <a:pt x="239" y="109"/>
                </a:cubicBezTo>
                <a:cubicBezTo>
                  <a:pt x="255" y="125"/>
                  <a:pt x="255" y="125"/>
                  <a:pt x="255" y="125"/>
                </a:cubicBezTo>
                <a:cubicBezTo>
                  <a:pt x="255" y="85"/>
                  <a:pt x="255" y="85"/>
                  <a:pt x="255" y="85"/>
                </a:cubicBezTo>
                <a:lnTo>
                  <a:pt x="215" y="85"/>
                </a:lnTo>
                <a:close/>
                <a:moveTo>
                  <a:pt x="111" y="139"/>
                </a:moveTo>
                <a:cubicBezTo>
                  <a:pt x="85" y="139"/>
                  <a:pt x="62" y="138"/>
                  <a:pt x="47" y="153"/>
                </a:cubicBezTo>
                <a:cubicBezTo>
                  <a:pt x="46" y="154"/>
                  <a:pt x="45" y="156"/>
                  <a:pt x="44" y="157"/>
                </a:cubicBezTo>
                <a:cubicBezTo>
                  <a:pt x="40" y="162"/>
                  <a:pt x="37" y="167"/>
                  <a:pt x="35" y="174"/>
                </a:cubicBezTo>
                <a:cubicBezTo>
                  <a:pt x="33" y="183"/>
                  <a:pt x="32" y="194"/>
                  <a:pt x="32" y="207"/>
                </a:cubicBezTo>
                <a:cubicBezTo>
                  <a:pt x="44" y="207"/>
                  <a:pt x="44" y="207"/>
                  <a:pt x="44" y="207"/>
                </a:cubicBezTo>
                <a:cubicBezTo>
                  <a:pt x="44" y="193"/>
                  <a:pt x="45" y="182"/>
                  <a:pt x="48" y="174"/>
                </a:cubicBezTo>
                <a:cubicBezTo>
                  <a:pt x="50" y="169"/>
                  <a:pt x="52" y="165"/>
                  <a:pt x="55" y="162"/>
                </a:cubicBezTo>
                <a:cubicBezTo>
                  <a:pt x="56" y="162"/>
                  <a:pt x="56" y="162"/>
                  <a:pt x="56" y="161"/>
                </a:cubicBezTo>
                <a:cubicBezTo>
                  <a:pt x="67" y="150"/>
                  <a:pt x="86" y="151"/>
                  <a:pt x="110" y="151"/>
                </a:cubicBezTo>
                <a:cubicBezTo>
                  <a:pt x="119" y="151"/>
                  <a:pt x="128" y="152"/>
                  <a:pt x="138" y="151"/>
                </a:cubicBezTo>
                <a:cubicBezTo>
                  <a:pt x="138" y="139"/>
                  <a:pt x="138" y="139"/>
                  <a:pt x="138" y="139"/>
                </a:cubicBezTo>
                <a:cubicBezTo>
                  <a:pt x="128" y="140"/>
                  <a:pt x="119" y="139"/>
                  <a:pt x="111" y="139"/>
                </a:cubicBezTo>
                <a:close/>
                <a:moveTo>
                  <a:pt x="179" y="105"/>
                </a:moveTo>
                <a:cubicBezTo>
                  <a:pt x="150" y="76"/>
                  <a:pt x="150" y="76"/>
                  <a:pt x="150" y="76"/>
                </a:cubicBezTo>
                <a:cubicBezTo>
                  <a:pt x="122" y="105"/>
                  <a:pt x="122" y="105"/>
                  <a:pt x="122" y="105"/>
                </a:cubicBezTo>
                <a:cubicBezTo>
                  <a:pt x="144" y="105"/>
                  <a:pt x="144" y="105"/>
                  <a:pt x="144" y="105"/>
                </a:cubicBezTo>
                <a:cubicBezTo>
                  <a:pt x="144" y="207"/>
                  <a:pt x="144" y="207"/>
                  <a:pt x="144" y="207"/>
                </a:cubicBezTo>
                <a:cubicBezTo>
                  <a:pt x="156" y="207"/>
                  <a:pt x="156" y="207"/>
                  <a:pt x="156" y="207"/>
                </a:cubicBezTo>
                <a:cubicBezTo>
                  <a:pt x="156" y="105"/>
                  <a:pt x="156" y="105"/>
                  <a:pt x="156" y="105"/>
                </a:cubicBezTo>
                <a:lnTo>
                  <a:pt x="179" y="10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551004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500" fill="hold"/>
                                        <p:tgtEl>
                                          <p:spTgt spid="10"/>
                                        </p:tgtEl>
                                        <p:attrNameLst>
                                          <p:attrName>ppt_x</p:attrName>
                                        </p:attrNameLst>
                                      </p:cBhvr>
                                      <p:tavLst>
                                        <p:tav tm="0">
                                          <p:val>
                                            <p:strVal val="1+#ppt_w/2"/>
                                          </p:val>
                                        </p:tav>
                                        <p:tav tm="100000">
                                          <p:val>
                                            <p:strVal val="#ppt_x"/>
                                          </p:val>
                                        </p:tav>
                                      </p:tavLst>
                                    </p:anim>
                                    <p:anim calcmode="lin" valueType="num">
                                      <p:cBhvr additive="base">
                                        <p:cTn id="12" dur="500" fill="hold"/>
                                        <p:tgtEl>
                                          <p:spTgt spid="10"/>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500"/>
                                  </p:stCondLst>
                                  <p:childTnLst>
                                    <p:set>
                                      <p:cBhvr>
                                        <p:cTn id="14" dur="1" fill="hold">
                                          <p:stCondLst>
                                            <p:cond delay="0"/>
                                          </p:stCondLst>
                                        </p:cTn>
                                        <p:tgtEl>
                                          <p:spTgt spid="15"/>
                                        </p:tgtEl>
                                        <p:attrNameLst>
                                          <p:attrName>style.visibility</p:attrName>
                                        </p:attrNameLst>
                                      </p:cBhvr>
                                      <p:to>
                                        <p:strVal val="visible"/>
                                      </p:to>
                                    </p:set>
                                    <p:anim calcmode="lin" valueType="num">
                                      <p:cBhvr additive="base">
                                        <p:cTn id="15" dur="500" fill="hold"/>
                                        <p:tgtEl>
                                          <p:spTgt spid="15"/>
                                        </p:tgtEl>
                                        <p:attrNameLst>
                                          <p:attrName>ppt_x</p:attrName>
                                        </p:attrNameLst>
                                      </p:cBhvr>
                                      <p:tavLst>
                                        <p:tav tm="0">
                                          <p:val>
                                            <p:strVal val="1+#ppt_w/2"/>
                                          </p:val>
                                        </p:tav>
                                        <p:tav tm="100000">
                                          <p:val>
                                            <p:strVal val="#ppt_x"/>
                                          </p:val>
                                        </p:tav>
                                      </p:tavLst>
                                    </p:anim>
                                    <p:anim calcmode="lin" valueType="num">
                                      <p:cBhvr additive="base">
                                        <p:cTn id="16" dur="500" fill="hold"/>
                                        <p:tgtEl>
                                          <p:spTgt spid="1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5" grpId="0" build="p"/>
      <p:bldP spid="15"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5635487" y="1695450"/>
            <a:ext cx="6040576" cy="40891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2350361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553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p:txBody>
          <a:bodyPr/>
          <a:lstStyle/>
          <a:p>
            <a:r>
              <a:rPr lang="en-US" dirty="0" err="1" smtClean="0"/>
              <a:t>WebMatrix</a:t>
            </a:r>
            <a:r>
              <a:rPr lang="en-US" dirty="0" smtClean="0"/>
              <a:t> gives you options</a:t>
            </a:r>
            <a:endParaRPr lang="en-US" dirty="0"/>
          </a:p>
        </p:txBody>
      </p:sp>
      <p:sp>
        <p:nvSpPr>
          <p:cNvPr id="5" name="Text Placeholder 4"/>
          <p:cNvSpPr>
            <a:spLocks noGrp="1"/>
          </p:cNvSpPr>
          <p:nvPr>
            <p:ph type="body" sz="quarter" idx="10"/>
          </p:nvPr>
        </p:nvSpPr>
        <p:spPr>
          <a:xfrm>
            <a:off x="519112" y="3463013"/>
            <a:ext cx="5116375" cy="997196"/>
          </a:xfrm>
        </p:spPr>
        <p:txBody>
          <a:bodyPr/>
          <a:lstStyle/>
          <a:p>
            <a:r>
              <a:rPr lang="en-US" sz="3600" dirty="0" smtClean="0"/>
              <a:t>Pull in an existing app and start customizing</a:t>
            </a:r>
            <a:endParaRPr lang="en-US" sz="3600" dirty="0"/>
          </a:p>
        </p:txBody>
      </p:sp>
      <p:sp>
        <p:nvSpPr>
          <p:cNvPr id="15" name="Freeform 21"/>
          <p:cNvSpPr>
            <a:spLocks noEditPoints="1"/>
          </p:cNvSpPr>
          <p:nvPr/>
        </p:nvSpPr>
        <p:spPr bwMode="black">
          <a:xfrm>
            <a:off x="7461759" y="2546307"/>
            <a:ext cx="2388032" cy="2387410"/>
          </a:xfrm>
          <a:custGeom>
            <a:avLst/>
            <a:gdLst>
              <a:gd name="T0" fmla="*/ 75 w 300"/>
              <a:gd name="T1" fmla="*/ 60 h 300"/>
              <a:gd name="T2" fmla="*/ 37 w 300"/>
              <a:gd name="T3" fmla="*/ 52 h 300"/>
              <a:gd name="T4" fmla="*/ 0 w 300"/>
              <a:gd name="T5" fmla="*/ 60 h 300"/>
              <a:gd name="T6" fmla="*/ 0 w 300"/>
              <a:gd name="T7" fmla="*/ 15 h 300"/>
              <a:gd name="T8" fmla="*/ 37 w 300"/>
              <a:gd name="T9" fmla="*/ 22 h 300"/>
              <a:gd name="T10" fmla="*/ 75 w 300"/>
              <a:gd name="T11" fmla="*/ 15 h 300"/>
              <a:gd name="T12" fmla="*/ 300 w 300"/>
              <a:gd name="T13" fmla="*/ 15 h 300"/>
              <a:gd name="T14" fmla="*/ 262 w 300"/>
              <a:gd name="T15" fmla="*/ 22 h 300"/>
              <a:gd name="T16" fmla="*/ 225 w 300"/>
              <a:gd name="T17" fmla="*/ 15 h 300"/>
              <a:gd name="T18" fmla="*/ 225 w 300"/>
              <a:gd name="T19" fmla="*/ 60 h 300"/>
              <a:gd name="T20" fmla="*/ 262 w 300"/>
              <a:gd name="T21" fmla="*/ 52 h 300"/>
              <a:gd name="T22" fmla="*/ 300 w 300"/>
              <a:gd name="T23" fmla="*/ 60 h 300"/>
              <a:gd name="T24" fmla="*/ 300 w 300"/>
              <a:gd name="T25" fmla="*/ 15 h 300"/>
              <a:gd name="T26" fmla="*/ 173 w 300"/>
              <a:gd name="T27" fmla="*/ 0 h 300"/>
              <a:gd name="T28" fmla="*/ 128 w 300"/>
              <a:gd name="T29" fmla="*/ 0 h 300"/>
              <a:gd name="T30" fmla="*/ 135 w 300"/>
              <a:gd name="T31" fmla="*/ 37 h 300"/>
              <a:gd name="T32" fmla="*/ 128 w 300"/>
              <a:gd name="T33" fmla="*/ 75 h 300"/>
              <a:gd name="T34" fmla="*/ 173 w 300"/>
              <a:gd name="T35" fmla="*/ 75 h 300"/>
              <a:gd name="T36" fmla="*/ 165 w 300"/>
              <a:gd name="T37" fmla="*/ 37 h 300"/>
              <a:gd name="T38" fmla="*/ 38 w 300"/>
              <a:gd name="T39" fmla="*/ 225 h 300"/>
              <a:gd name="T40" fmla="*/ 38 w 300"/>
              <a:gd name="T41" fmla="*/ 300 h 300"/>
              <a:gd name="T42" fmla="*/ 38 w 300"/>
              <a:gd name="T43" fmla="*/ 225 h 300"/>
              <a:gd name="T44" fmla="*/ 38 w 300"/>
              <a:gd name="T45" fmla="*/ 277 h 300"/>
              <a:gd name="T46" fmla="*/ 38 w 300"/>
              <a:gd name="T47" fmla="*/ 247 h 300"/>
              <a:gd name="T48" fmla="*/ 150 w 300"/>
              <a:gd name="T49" fmla="*/ 225 h 300"/>
              <a:gd name="T50" fmla="*/ 150 w 300"/>
              <a:gd name="T51" fmla="*/ 300 h 300"/>
              <a:gd name="T52" fmla="*/ 150 w 300"/>
              <a:gd name="T53" fmla="*/ 225 h 300"/>
              <a:gd name="T54" fmla="*/ 150 w 300"/>
              <a:gd name="T55" fmla="*/ 277 h 300"/>
              <a:gd name="T56" fmla="*/ 150 w 300"/>
              <a:gd name="T57" fmla="*/ 247 h 300"/>
              <a:gd name="T58" fmla="*/ 263 w 300"/>
              <a:gd name="T59" fmla="*/ 225 h 300"/>
              <a:gd name="T60" fmla="*/ 263 w 300"/>
              <a:gd name="T61" fmla="*/ 300 h 300"/>
              <a:gd name="T62" fmla="*/ 263 w 300"/>
              <a:gd name="T63" fmla="*/ 225 h 300"/>
              <a:gd name="T64" fmla="*/ 263 w 300"/>
              <a:gd name="T65" fmla="*/ 277 h 300"/>
              <a:gd name="T66" fmla="*/ 263 w 300"/>
              <a:gd name="T67" fmla="*/ 247 h 300"/>
              <a:gd name="T68" fmla="*/ 162 w 300"/>
              <a:gd name="T69" fmla="*/ 162 h 300"/>
              <a:gd name="T70" fmla="*/ 257 w 300"/>
              <a:gd name="T71" fmla="*/ 174 h 300"/>
              <a:gd name="T72" fmla="*/ 269 w 300"/>
              <a:gd name="T73" fmla="*/ 207 h 300"/>
              <a:gd name="T74" fmla="*/ 162 w 300"/>
              <a:gd name="T75" fmla="*/ 162 h 300"/>
              <a:gd name="T76" fmla="*/ 60 w 300"/>
              <a:gd name="T77" fmla="*/ 166 h 300"/>
              <a:gd name="T78" fmla="*/ 138 w 300"/>
              <a:gd name="T79" fmla="*/ 174 h 300"/>
              <a:gd name="T80" fmla="*/ 65 w 300"/>
              <a:gd name="T81" fmla="*/ 162 h 300"/>
              <a:gd name="T82" fmla="*/ 9 w 300"/>
              <a:gd name="T83" fmla="*/ 105 h 300"/>
              <a:gd name="T84" fmla="*/ 32 w 300"/>
              <a:gd name="T85" fmla="*/ 167 h 300"/>
              <a:gd name="T86" fmla="*/ 44 w 300"/>
              <a:gd name="T87" fmla="*/ 148 h 300"/>
              <a:gd name="T88" fmla="*/ 66 w 300"/>
              <a:gd name="T89" fmla="*/ 105 h 300"/>
              <a:gd name="T90" fmla="*/ 215 w 300"/>
              <a:gd name="T91" fmla="*/ 85 h 300"/>
              <a:gd name="T92" fmla="*/ 231 w 300"/>
              <a:gd name="T93" fmla="*/ 101 h 300"/>
              <a:gd name="T94" fmla="*/ 162 w 300"/>
              <a:gd name="T95" fmla="*/ 149 h 300"/>
              <a:gd name="T96" fmla="*/ 255 w 300"/>
              <a:gd name="T97" fmla="*/ 125 h 300"/>
              <a:gd name="T98" fmla="*/ 215 w 300"/>
              <a:gd name="T99" fmla="*/ 85 h 300"/>
              <a:gd name="T100" fmla="*/ 47 w 300"/>
              <a:gd name="T101" fmla="*/ 153 h 300"/>
              <a:gd name="T102" fmla="*/ 35 w 300"/>
              <a:gd name="T103" fmla="*/ 174 h 300"/>
              <a:gd name="T104" fmla="*/ 44 w 300"/>
              <a:gd name="T105" fmla="*/ 207 h 300"/>
              <a:gd name="T106" fmla="*/ 55 w 300"/>
              <a:gd name="T107" fmla="*/ 162 h 300"/>
              <a:gd name="T108" fmla="*/ 110 w 300"/>
              <a:gd name="T109" fmla="*/ 151 h 300"/>
              <a:gd name="T110" fmla="*/ 138 w 300"/>
              <a:gd name="T111" fmla="*/ 139 h 300"/>
              <a:gd name="T112" fmla="*/ 179 w 300"/>
              <a:gd name="T113" fmla="*/ 105 h 300"/>
              <a:gd name="T114" fmla="*/ 122 w 300"/>
              <a:gd name="T115" fmla="*/ 105 h 300"/>
              <a:gd name="T116" fmla="*/ 144 w 300"/>
              <a:gd name="T117" fmla="*/ 207 h 300"/>
              <a:gd name="T118" fmla="*/ 156 w 300"/>
              <a:gd name="T119" fmla="*/ 10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00" h="300">
                <a:moveTo>
                  <a:pt x="52" y="37"/>
                </a:moveTo>
                <a:cubicBezTo>
                  <a:pt x="75" y="60"/>
                  <a:pt x="75" y="60"/>
                  <a:pt x="75" y="60"/>
                </a:cubicBezTo>
                <a:cubicBezTo>
                  <a:pt x="60" y="75"/>
                  <a:pt x="60" y="75"/>
                  <a:pt x="60" y="75"/>
                </a:cubicBezTo>
                <a:cubicBezTo>
                  <a:pt x="37" y="52"/>
                  <a:pt x="37" y="52"/>
                  <a:pt x="37" y="52"/>
                </a:cubicBezTo>
                <a:cubicBezTo>
                  <a:pt x="15" y="75"/>
                  <a:pt x="15" y="75"/>
                  <a:pt x="15" y="75"/>
                </a:cubicBezTo>
                <a:cubicBezTo>
                  <a:pt x="0" y="60"/>
                  <a:pt x="0" y="60"/>
                  <a:pt x="0" y="60"/>
                </a:cubicBezTo>
                <a:cubicBezTo>
                  <a:pt x="23" y="37"/>
                  <a:pt x="23" y="37"/>
                  <a:pt x="23" y="37"/>
                </a:cubicBezTo>
                <a:cubicBezTo>
                  <a:pt x="0" y="15"/>
                  <a:pt x="0" y="15"/>
                  <a:pt x="0" y="15"/>
                </a:cubicBezTo>
                <a:cubicBezTo>
                  <a:pt x="15" y="0"/>
                  <a:pt x="15" y="0"/>
                  <a:pt x="15" y="0"/>
                </a:cubicBezTo>
                <a:cubicBezTo>
                  <a:pt x="37" y="22"/>
                  <a:pt x="37" y="22"/>
                  <a:pt x="37" y="22"/>
                </a:cubicBezTo>
                <a:cubicBezTo>
                  <a:pt x="60" y="0"/>
                  <a:pt x="60" y="0"/>
                  <a:pt x="60" y="0"/>
                </a:cubicBezTo>
                <a:cubicBezTo>
                  <a:pt x="75" y="15"/>
                  <a:pt x="75" y="15"/>
                  <a:pt x="75" y="15"/>
                </a:cubicBezTo>
                <a:lnTo>
                  <a:pt x="52" y="37"/>
                </a:lnTo>
                <a:close/>
                <a:moveTo>
                  <a:pt x="300" y="15"/>
                </a:moveTo>
                <a:cubicBezTo>
                  <a:pt x="285" y="0"/>
                  <a:pt x="285" y="0"/>
                  <a:pt x="285" y="0"/>
                </a:cubicBezTo>
                <a:cubicBezTo>
                  <a:pt x="262" y="22"/>
                  <a:pt x="262" y="22"/>
                  <a:pt x="262" y="22"/>
                </a:cubicBezTo>
                <a:cubicBezTo>
                  <a:pt x="240" y="0"/>
                  <a:pt x="240" y="0"/>
                  <a:pt x="240" y="0"/>
                </a:cubicBezTo>
                <a:cubicBezTo>
                  <a:pt x="225" y="15"/>
                  <a:pt x="225" y="15"/>
                  <a:pt x="225" y="15"/>
                </a:cubicBezTo>
                <a:cubicBezTo>
                  <a:pt x="248" y="37"/>
                  <a:pt x="248" y="37"/>
                  <a:pt x="248" y="37"/>
                </a:cubicBezTo>
                <a:cubicBezTo>
                  <a:pt x="225" y="60"/>
                  <a:pt x="225" y="60"/>
                  <a:pt x="225" y="60"/>
                </a:cubicBezTo>
                <a:cubicBezTo>
                  <a:pt x="240" y="75"/>
                  <a:pt x="240" y="75"/>
                  <a:pt x="240" y="75"/>
                </a:cubicBezTo>
                <a:cubicBezTo>
                  <a:pt x="262" y="52"/>
                  <a:pt x="262" y="52"/>
                  <a:pt x="262" y="52"/>
                </a:cubicBezTo>
                <a:cubicBezTo>
                  <a:pt x="285" y="75"/>
                  <a:pt x="285" y="75"/>
                  <a:pt x="285" y="75"/>
                </a:cubicBezTo>
                <a:cubicBezTo>
                  <a:pt x="300" y="60"/>
                  <a:pt x="300" y="60"/>
                  <a:pt x="300" y="60"/>
                </a:cubicBezTo>
                <a:cubicBezTo>
                  <a:pt x="277" y="37"/>
                  <a:pt x="277" y="37"/>
                  <a:pt x="277" y="37"/>
                </a:cubicBezTo>
                <a:lnTo>
                  <a:pt x="300" y="15"/>
                </a:lnTo>
                <a:close/>
                <a:moveTo>
                  <a:pt x="188" y="15"/>
                </a:moveTo>
                <a:cubicBezTo>
                  <a:pt x="173" y="0"/>
                  <a:pt x="173" y="0"/>
                  <a:pt x="173" y="0"/>
                </a:cubicBezTo>
                <a:cubicBezTo>
                  <a:pt x="150" y="22"/>
                  <a:pt x="150" y="22"/>
                  <a:pt x="150" y="22"/>
                </a:cubicBezTo>
                <a:cubicBezTo>
                  <a:pt x="128" y="0"/>
                  <a:pt x="128" y="0"/>
                  <a:pt x="128" y="0"/>
                </a:cubicBezTo>
                <a:cubicBezTo>
                  <a:pt x="113" y="15"/>
                  <a:pt x="113" y="15"/>
                  <a:pt x="113" y="15"/>
                </a:cubicBezTo>
                <a:cubicBezTo>
                  <a:pt x="135" y="37"/>
                  <a:pt x="135" y="37"/>
                  <a:pt x="135" y="37"/>
                </a:cubicBezTo>
                <a:cubicBezTo>
                  <a:pt x="113" y="60"/>
                  <a:pt x="113" y="60"/>
                  <a:pt x="113" y="60"/>
                </a:cubicBezTo>
                <a:cubicBezTo>
                  <a:pt x="128" y="75"/>
                  <a:pt x="128" y="75"/>
                  <a:pt x="128" y="75"/>
                </a:cubicBezTo>
                <a:cubicBezTo>
                  <a:pt x="150" y="52"/>
                  <a:pt x="150" y="52"/>
                  <a:pt x="150" y="52"/>
                </a:cubicBezTo>
                <a:cubicBezTo>
                  <a:pt x="173" y="75"/>
                  <a:pt x="173" y="75"/>
                  <a:pt x="173" y="75"/>
                </a:cubicBezTo>
                <a:cubicBezTo>
                  <a:pt x="188" y="60"/>
                  <a:pt x="188" y="60"/>
                  <a:pt x="188" y="60"/>
                </a:cubicBezTo>
                <a:cubicBezTo>
                  <a:pt x="165" y="37"/>
                  <a:pt x="165" y="37"/>
                  <a:pt x="165" y="37"/>
                </a:cubicBezTo>
                <a:lnTo>
                  <a:pt x="188" y="15"/>
                </a:lnTo>
                <a:close/>
                <a:moveTo>
                  <a:pt x="38" y="225"/>
                </a:moveTo>
                <a:cubicBezTo>
                  <a:pt x="17" y="225"/>
                  <a:pt x="0" y="242"/>
                  <a:pt x="0" y="262"/>
                </a:cubicBezTo>
                <a:cubicBezTo>
                  <a:pt x="0" y="283"/>
                  <a:pt x="17" y="300"/>
                  <a:pt x="38" y="300"/>
                </a:cubicBezTo>
                <a:cubicBezTo>
                  <a:pt x="58" y="300"/>
                  <a:pt x="75" y="283"/>
                  <a:pt x="75" y="262"/>
                </a:cubicBezTo>
                <a:cubicBezTo>
                  <a:pt x="75" y="242"/>
                  <a:pt x="58" y="225"/>
                  <a:pt x="38" y="225"/>
                </a:cubicBezTo>
                <a:close/>
                <a:moveTo>
                  <a:pt x="53" y="262"/>
                </a:moveTo>
                <a:cubicBezTo>
                  <a:pt x="53" y="271"/>
                  <a:pt x="46" y="277"/>
                  <a:pt x="38" y="277"/>
                </a:cubicBezTo>
                <a:cubicBezTo>
                  <a:pt x="29" y="277"/>
                  <a:pt x="23" y="271"/>
                  <a:pt x="23" y="262"/>
                </a:cubicBezTo>
                <a:cubicBezTo>
                  <a:pt x="23" y="254"/>
                  <a:pt x="29" y="247"/>
                  <a:pt x="38" y="247"/>
                </a:cubicBezTo>
                <a:cubicBezTo>
                  <a:pt x="46" y="247"/>
                  <a:pt x="53" y="254"/>
                  <a:pt x="53" y="262"/>
                </a:cubicBezTo>
                <a:close/>
                <a:moveTo>
                  <a:pt x="150" y="225"/>
                </a:moveTo>
                <a:cubicBezTo>
                  <a:pt x="129" y="225"/>
                  <a:pt x="113" y="242"/>
                  <a:pt x="113" y="262"/>
                </a:cubicBezTo>
                <a:cubicBezTo>
                  <a:pt x="113" y="283"/>
                  <a:pt x="129" y="300"/>
                  <a:pt x="150" y="300"/>
                </a:cubicBezTo>
                <a:cubicBezTo>
                  <a:pt x="171" y="300"/>
                  <a:pt x="188" y="283"/>
                  <a:pt x="188" y="262"/>
                </a:cubicBezTo>
                <a:cubicBezTo>
                  <a:pt x="188" y="242"/>
                  <a:pt x="171" y="225"/>
                  <a:pt x="150" y="225"/>
                </a:cubicBezTo>
                <a:close/>
                <a:moveTo>
                  <a:pt x="165" y="262"/>
                </a:moveTo>
                <a:cubicBezTo>
                  <a:pt x="165" y="271"/>
                  <a:pt x="158" y="277"/>
                  <a:pt x="150" y="277"/>
                </a:cubicBezTo>
                <a:cubicBezTo>
                  <a:pt x="142" y="277"/>
                  <a:pt x="135" y="271"/>
                  <a:pt x="135" y="262"/>
                </a:cubicBezTo>
                <a:cubicBezTo>
                  <a:pt x="135" y="254"/>
                  <a:pt x="142" y="247"/>
                  <a:pt x="150" y="247"/>
                </a:cubicBezTo>
                <a:cubicBezTo>
                  <a:pt x="158" y="247"/>
                  <a:pt x="165" y="254"/>
                  <a:pt x="165" y="262"/>
                </a:cubicBezTo>
                <a:close/>
                <a:moveTo>
                  <a:pt x="263" y="225"/>
                </a:moveTo>
                <a:cubicBezTo>
                  <a:pt x="242" y="225"/>
                  <a:pt x="225" y="242"/>
                  <a:pt x="225" y="262"/>
                </a:cubicBezTo>
                <a:cubicBezTo>
                  <a:pt x="225" y="283"/>
                  <a:pt x="242" y="300"/>
                  <a:pt x="263" y="300"/>
                </a:cubicBezTo>
                <a:cubicBezTo>
                  <a:pt x="283" y="300"/>
                  <a:pt x="300" y="283"/>
                  <a:pt x="300" y="262"/>
                </a:cubicBezTo>
                <a:cubicBezTo>
                  <a:pt x="300" y="242"/>
                  <a:pt x="283" y="225"/>
                  <a:pt x="263" y="225"/>
                </a:cubicBezTo>
                <a:close/>
                <a:moveTo>
                  <a:pt x="278" y="262"/>
                </a:moveTo>
                <a:cubicBezTo>
                  <a:pt x="278" y="271"/>
                  <a:pt x="271" y="277"/>
                  <a:pt x="263" y="277"/>
                </a:cubicBezTo>
                <a:cubicBezTo>
                  <a:pt x="254" y="277"/>
                  <a:pt x="248" y="271"/>
                  <a:pt x="248" y="262"/>
                </a:cubicBezTo>
                <a:cubicBezTo>
                  <a:pt x="248" y="254"/>
                  <a:pt x="254" y="247"/>
                  <a:pt x="263" y="247"/>
                </a:cubicBezTo>
                <a:cubicBezTo>
                  <a:pt x="271" y="247"/>
                  <a:pt x="278" y="254"/>
                  <a:pt x="278" y="262"/>
                </a:cubicBezTo>
                <a:close/>
                <a:moveTo>
                  <a:pt x="162" y="162"/>
                </a:moveTo>
                <a:cubicBezTo>
                  <a:pt x="162" y="174"/>
                  <a:pt x="162" y="174"/>
                  <a:pt x="162" y="174"/>
                </a:cubicBezTo>
                <a:cubicBezTo>
                  <a:pt x="257" y="174"/>
                  <a:pt x="257" y="174"/>
                  <a:pt x="257" y="174"/>
                </a:cubicBezTo>
                <a:cubicBezTo>
                  <a:pt x="257" y="207"/>
                  <a:pt x="257" y="207"/>
                  <a:pt x="257" y="207"/>
                </a:cubicBezTo>
                <a:cubicBezTo>
                  <a:pt x="269" y="207"/>
                  <a:pt x="269" y="207"/>
                  <a:pt x="269" y="207"/>
                </a:cubicBezTo>
                <a:cubicBezTo>
                  <a:pt x="269" y="162"/>
                  <a:pt x="269" y="162"/>
                  <a:pt x="269" y="162"/>
                </a:cubicBezTo>
                <a:lnTo>
                  <a:pt x="162" y="162"/>
                </a:lnTo>
                <a:close/>
                <a:moveTo>
                  <a:pt x="65" y="162"/>
                </a:moveTo>
                <a:cubicBezTo>
                  <a:pt x="63" y="163"/>
                  <a:pt x="62" y="164"/>
                  <a:pt x="60" y="166"/>
                </a:cubicBezTo>
                <a:cubicBezTo>
                  <a:pt x="58" y="168"/>
                  <a:pt x="56" y="171"/>
                  <a:pt x="55" y="174"/>
                </a:cubicBezTo>
                <a:cubicBezTo>
                  <a:pt x="138" y="174"/>
                  <a:pt x="138" y="174"/>
                  <a:pt x="138" y="174"/>
                </a:cubicBezTo>
                <a:cubicBezTo>
                  <a:pt x="138" y="162"/>
                  <a:pt x="138" y="162"/>
                  <a:pt x="138" y="162"/>
                </a:cubicBezTo>
                <a:lnTo>
                  <a:pt x="65" y="162"/>
                </a:lnTo>
                <a:close/>
                <a:moveTo>
                  <a:pt x="38" y="76"/>
                </a:moveTo>
                <a:cubicBezTo>
                  <a:pt x="9" y="105"/>
                  <a:pt x="9" y="105"/>
                  <a:pt x="9" y="105"/>
                </a:cubicBezTo>
                <a:cubicBezTo>
                  <a:pt x="32" y="105"/>
                  <a:pt x="32" y="105"/>
                  <a:pt x="32" y="105"/>
                </a:cubicBezTo>
                <a:cubicBezTo>
                  <a:pt x="32" y="167"/>
                  <a:pt x="32" y="167"/>
                  <a:pt x="32" y="167"/>
                </a:cubicBezTo>
                <a:cubicBezTo>
                  <a:pt x="34" y="160"/>
                  <a:pt x="38" y="154"/>
                  <a:pt x="43" y="149"/>
                </a:cubicBezTo>
                <a:cubicBezTo>
                  <a:pt x="43" y="149"/>
                  <a:pt x="43" y="148"/>
                  <a:pt x="44" y="148"/>
                </a:cubicBezTo>
                <a:cubicBezTo>
                  <a:pt x="44" y="105"/>
                  <a:pt x="44" y="105"/>
                  <a:pt x="44" y="105"/>
                </a:cubicBezTo>
                <a:cubicBezTo>
                  <a:pt x="66" y="105"/>
                  <a:pt x="66" y="105"/>
                  <a:pt x="66" y="105"/>
                </a:cubicBezTo>
                <a:lnTo>
                  <a:pt x="38" y="76"/>
                </a:lnTo>
                <a:close/>
                <a:moveTo>
                  <a:pt x="215" y="85"/>
                </a:moveTo>
                <a:cubicBezTo>
                  <a:pt x="235" y="105"/>
                  <a:pt x="235" y="105"/>
                  <a:pt x="235" y="105"/>
                </a:cubicBezTo>
                <a:cubicBezTo>
                  <a:pt x="231" y="101"/>
                  <a:pt x="231" y="101"/>
                  <a:pt x="231" y="101"/>
                </a:cubicBezTo>
                <a:cubicBezTo>
                  <a:pt x="208" y="123"/>
                  <a:pt x="185" y="133"/>
                  <a:pt x="162" y="137"/>
                </a:cubicBezTo>
                <a:cubicBezTo>
                  <a:pt x="162" y="149"/>
                  <a:pt x="162" y="149"/>
                  <a:pt x="162" y="149"/>
                </a:cubicBezTo>
                <a:cubicBezTo>
                  <a:pt x="187" y="145"/>
                  <a:pt x="214" y="135"/>
                  <a:pt x="239" y="109"/>
                </a:cubicBezTo>
                <a:cubicBezTo>
                  <a:pt x="255" y="125"/>
                  <a:pt x="255" y="125"/>
                  <a:pt x="255" y="125"/>
                </a:cubicBezTo>
                <a:cubicBezTo>
                  <a:pt x="255" y="85"/>
                  <a:pt x="255" y="85"/>
                  <a:pt x="255" y="85"/>
                </a:cubicBezTo>
                <a:lnTo>
                  <a:pt x="215" y="85"/>
                </a:lnTo>
                <a:close/>
                <a:moveTo>
                  <a:pt x="111" y="139"/>
                </a:moveTo>
                <a:cubicBezTo>
                  <a:pt x="85" y="139"/>
                  <a:pt x="62" y="138"/>
                  <a:pt x="47" y="153"/>
                </a:cubicBezTo>
                <a:cubicBezTo>
                  <a:pt x="46" y="154"/>
                  <a:pt x="45" y="156"/>
                  <a:pt x="44" y="157"/>
                </a:cubicBezTo>
                <a:cubicBezTo>
                  <a:pt x="40" y="162"/>
                  <a:pt x="37" y="167"/>
                  <a:pt x="35" y="174"/>
                </a:cubicBezTo>
                <a:cubicBezTo>
                  <a:pt x="33" y="183"/>
                  <a:pt x="32" y="194"/>
                  <a:pt x="32" y="207"/>
                </a:cubicBezTo>
                <a:cubicBezTo>
                  <a:pt x="44" y="207"/>
                  <a:pt x="44" y="207"/>
                  <a:pt x="44" y="207"/>
                </a:cubicBezTo>
                <a:cubicBezTo>
                  <a:pt x="44" y="193"/>
                  <a:pt x="45" y="182"/>
                  <a:pt x="48" y="174"/>
                </a:cubicBezTo>
                <a:cubicBezTo>
                  <a:pt x="50" y="169"/>
                  <a:pt x="52" y="165"/>
                  <a:pt x="55" y="162"/>
                </a:cubicBezTo>
                <a:cubicBezTo>
                  <a:pt x="56" y="162"/>
                  <a:pt x="56" y="162"/>
                  <a:pt x="56" y="161"/>
                </a:cubicBezTo>
                <a:cubicBezTo>
                  <a:pt x="67" y="150"/>
                  <a:pt x="86" y="151"/>
                  <a:pt x="110" y="151"/>
                </a:cubicBezTo>
                <a:cubicBezTo>
                  <a:pt x="119" y="151"/>
                  <a:pt x="128" y="152"/>
                  <a:pt x="138" y="151"/>
                </a:cubicBezTo>
                <a:cubicBezTo>
                  <a:pt x="138" y="139"/>
                  <a:pt x="138" y="139"/>
                  <a:pt x="138" y="139"/>
                </a:cubicBezTo>
                <a:cubicBezTo>
                  <a:pt x="128" y="140"/>
                  <a:pt x="119" y="139"/>
                  <a:pt x="111" y="139"/>
                </a:cubicBezTo>
                <a:close/>
                <a:moveTo>
                  <a:pt x="179" y="105"/>
                </a:moveTo>
                <a:cubicBezTo>
                  <a:pt x="150" y="76"/>
                  <a:pt x="150" y="76"/>
                  <a:pt x="150" y="76"/>
                </a:cubicBezTo>
                <a:cubicBezTo>
                  <a:pt x="122" y="105"/>
                  <a:pt x="122" y="105"/>
                  <a:pt x="122" y="105"/>
                </a:cubicBezTo>
                <a:cubicBezTo>
                  <a:pt x="144" y="105"/>
                  <a:pt x="144" y="105"/>
                  <a:pt x="144" y="105"/>
                </a:cubicBezTo>
                <a:cubicBezTo>
                  <a:pt x="144" y="207"/>
                  <a:pt x="144" y="207"/>
                  <a:pt x="144" y="207"/>
                </a:cubicBezTo>
                <a:cubicBezTo>
                  <a:pt x="156" y="207"/>
                  <a:pt x="156" y="207"/>
                  <a:pt x="156" y="207"/>
                </a:cubicBezTo>
                <a:cubicBezTo>
                  <a:pt x="156" y="105"/>
                  <a:pt x="156" y="105"/>
                  <a:pt x="156" y="105"/>
                </a:cubicBezTo>
                <a:lnTo>
                  <a:pt x="179" y="10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3520943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500" fill="hold"/>
                                        <p:tgtEl>
                                          <p:spTgt spid="10"/>
                                        </p:tgtEl>
                                        <p:attrNameLst>
                                          <p:attrName>ppt_x</p:attrName>
                                        </p:attrNameLst>
                                      </p:cBhvr>
                                      <p:tavLst>
                                        <p:tav tm="0">
                                          <p:val>
                                            <p:strVal val="1+#ppt_w/2"/>
                                          </p:val>
                                        </p:tav>
                                        <p:tav tm="100000">
                                          <p:val>
                                            <p:strVal val="#ppt_x"/>
                                          </p:val>
                                        </p:tav>
                                      </p:tavLst>
                                    </p:anim>
                                    <p:anim calcmode="lin" valueType="num">
                                      <p:cBhvr additive="base">
                                        <p:cTn id="12" dur="500" fill="hold"/>
                                        <p:tgtEl>
                                          <p:spTgt spid="10"/>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500"/>
                                  </p:stCondLst>
                                  <p:childTnLst>
                                    <p:set>
                                      <p:cBhvr>
                                        <p:cTn id="14" dur="1" fill="hold">
                                          <p:stCondLst>
                                            <p:cond delay="0"/>
                                          </p:stCondLst>
                                        </p:cTn>
                                        <p:tgtEl>
                                          <p:spTgt spid="15"/>
                                        </p:tgtEl>
                                        <p:attrNameLst>
                                          <p:attrName>style.visibility</p:attrName>
                                        </p:attrNameLst>
                                      </p:cBhvr>
                                      <p:to>
                                        <p:strVal val="visible"/>
                                      </p:to>
                                    </p:set>
                                    <p:anim calcmode="lin" valueType="num">
                                      <p:cBhvr additive="base">
                                        <p:cTn id="15" dur="500" fill="hold"/>
                                        <p:tgtEl>
                                          <p:spTgt spid="15"/>
                                        </p:tgtEl>
                                        <p:attrNameLst>
                                          <p:attrName>ppt_x</p:attrName>
                                        </p:attrNameLst>
                                      </p:cBhvr>
                                      <p:tavLst>
                                        <p:tav tm="0">
                                          <p:val>
                                            <p:strVal val="1+#ppt_w/2"/>
                                          </p:val>
                                        </p:tav>
                                        <p:tav tm="100000">
                                          <p:val>
                                            <p:strVal val="#ppt_x"/>
                                          </p:val>
                                        </p:tav>
                                      </p:tavLst>
                                    </p:anim>
                                    <p:anim calcmode="lin" valueType="num">
                                      <p:cBhvr additive="base">
                                        <p:cTn id="16" dur="500" fill="hold"/>
                                        <p:tgtEl>
                                          <p:spTgt spid="1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5" grpId="0" build="p"/>
      <p:bldP spid="15"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5635487" y="1695450"/>
            <a:ext cx="6040576" cy="40891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69060426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656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p:txBody>
          <a:bodyPr/>
          <a:lstStyle/>
          <a:p>
            <a:r>
              <a:rPr lang="en-US" dirty="0" err="1" smtClean="0"/>
              <a:t>WebMatrix</a:t>
            </a:r>
            <a:r>
              <a:rPr lang="en-US" dirty="0" smtClean="0"/>
              <a:t> gives you options</a:t>
            </a:r>
            <a:endParaRPr lang="en-US" dirty="0"/>
          </a:p>
        </p:txBody>
      </p:sp>
      <p:sp>
        <p:nvSpPr>
          <p:cNvPr id="5" name="Text Placeholder 4"/>
          <p:cNvSpPr>
            <a:spLocks noGrp="1"/>
          </p:cNvSpPr>
          <p:nvPr>
            <p:ph type="body" sz="quarter" idx="10"/>
          </p:nvPr>
        </p:nvSpPr>
        <p:spPr>
          <a:xfrm>
            <a:off x="519112" y="3463013"/>
            <a:ext cx="5116375" cy="387798"/>
          </a:xfrm>
        </p:spPr>
        <p:txBody>
          <a:bodyPr/>
          <a:lstStyle/>
          <a:p>
            <a:r>
              <a:rPr lang="en-US" sz="2800" dirty="0" smtClean="0"/>
              <a:t>Open an existing site (even remotely)</a:t>
            </a:r>
            <a:endParaRPr lang="en-US" sz="2800" dirty="0"/>
          </a:p>
        </p:txBody>
      </p:sp>
      <p:sp>
        <p:nvSpPr>
          <p:cNvPr id="15" name="Freeform 21"/>
          <p:cNvSpPr>
            <a:spLocks noEditPoints="1"/>
          </p:cNvSpPr>
          <p:nvPr/>
        </p:nvSpPr>
        <p:spPr bwMode="black">
          <a:xfrm>
            <a:off x="7461759" y="2546307"/>
            <a:ext cx="2388032" cy="2387410"/>
          </a:xfrm>
          <a:custGeom>
            <a:avLst/>
            <a:gdLst>
              <a:gd name="T0" fmla="*/ 75 w 300"/>
              <a:gd name="T1" fmla="*/ 60 h 300"/>
              <a:gd name="T2" fmla="*/ 37 w 300"/>
              <a:gd name="T3" fmla="*/ 52 h 300"/>
              <a:gd name="T4" fmla="*/ 0 w 300"/>
              <a:gd name="T5" fmla="*/ 60 h 300"/>
              <a:gd name="T6" fmla="*/ 0 w 300"/>
              <a:gd name="T7" fmla="*/ 15 h 300"/>
              <a:gd name="T8" fmla="*/ 37 w 300"/>
              <a:gd name="T9" fmla="*/ 22 h 300"/>
              <a:gd name="T10" fmla="*/ 75 w 300"/>
              <a:gd name="T11" fmla="*/ 15 h 300"/>
              <a:gd name="T12" fmla="*/ 300 w 300"/>
              <a:gd name="T13" fmla="*/ 15 h 300"/>
              <a:gd name="T14" fmla="*/ 262 w 300"/>
              <a:gd name="T15" fmla="*/ 22 h 300"/>
              <a:gd name="T16" fmla="*/ 225 w 300"/>
              <a:gd name="T17" fmla="*/ 15 h 300"/>
              <a:gd name="T18" fmla="*/ 225 w 300"/>
              <a:gd name="T19" fmla="*/ 60 h 300"/>
              <a:gd name="T20" fmla="*/ 262 w 300"/>
              <a:gd name="T21" fmla="*/ 52 h 300"/>
              <a:gd name="T22" fmla="*/ 300 w 300"/>
              <a:gd name="T23" fmla="*/ 60 h 300"/>
              <a:gd name="T24" fmla="*/ 300 w 300"/>
              <a:gd name="T25" fmla="*/ 15 h 300"/>
              <a:gd name="T26" fmla="*/ 173 w 300"/>
              <a:gd name="T27" fmla="*/ 0 h 300"/>
              <a:gd name="T28" fmla="*/ 128 w 300"/>
              <a:gd name="T29" fmla="*/ 0 h 300"/>
              <a:gd name="T30" fmla="*/ 135 w 300"/>
              <a:gd name="T31" fmla="*/ 37 h 300"/>
              <a:gd name="T32" fmla="*/ 128 w 300"/>
              <a:gd name="T33" fmla="*/ 75 h 300"/>
              <a:gd name="T34" fmla="*/ 173 w 300"/>
              <a:gd name="T35" fmla="*/ 75 h 300"/>
              <a:gd name="T36" fmla="*/ 165 w 300"/>
              <a:gd name="T37" fmla="*/ 37 h 300"/>
              <a:gd name="T38" fmla="*/ 38 w 300"/>
              <a:gd name="T39" fmla="*/ 225 h 300"/>
              <a:gd name="T40" fmla="*/ 38 w 300"/>
              <a:gd name="T41" fmla="*/ 300 h 300"/>
              <a:gd name="T42" fmla="*/ 38 w 300"/>
              <a:gd name="T43" fmla="*/ 225 h 300"/>
              <a:gd name="T44" fmla="*/ 38 w 300"/>
              <a:gd name="T45" fmla="*/ 277 h 300"/>
              <a:gd name="T46" fmla="*/ 38 w 300"/>
              <a:gd name="T47" fmla="*/ 247 h 300"/>
              <a:gd name="T48" fmla="*/ 150 w 300"/>
              <a:gd name="T49" fmla="*/ 225 h 300"/>
              <a:gd name="T50" fmla="*/ 150 w 300"/>
              <a:gd name="T51" fmla="*/ 300 h 300"/>
              <a:gd name="T52" fmla="*/ 150 w 300"/>
              <a:gd name="T53" fmla="*/ 225 h 300"/>
              <a:gd name="T54" fmla="*/ 150 w 300"/>
              <a:gd name="T55" fmla="*/ 277 h 300"/>
              <a:gd name="T56" fmla="*/ 150 w 300"/>
              <a:gd name="T57" fmla="*/ 247 h 300"/>
              <a:gd name="T58" fmla="*/ 263 w 300"/>
              <a:gd name="T59" fmla="*/ 225 h 300"/>
              <a:gd name="T60" fmla="*/ 263 w 300"/>
              <a:gd name="T61" fmla="*/ 300 h 300"/>
              <a:gd name="T62" fmla="*/ 263 w 300"/>
              <a:gd name="T63" fmla="*/ 225 h 300"/>
              <a:gd name="T64" fmla="*/ 263 w 300"/>
              <a:gd name="T65" fmla="*/ 277 h 300"/>
              <a:gd name="T66" fmla="*/ 263 w 300"/>
              <a:gd name="T67" fmla="*/ 247 h 300"/>
              <a:gd name="T68" fmla="*/ 162 w 300"/>
              <a:gd name="T69" fmla="*/ 162 h 300"/>
              <a:gd name="T70" fmla="*/ 257 w 300"/>
              <a:gd name="T71" fmla="*/ 174 h 300"/>
              <a:gd name="T72" fmla="*/ 269 w 300"/>
              <a:gd name="T73" fmla="*/ 207 h 300"/>
              <a:gd name="T74" fmla="*/ 162 w 300"/>
              <a:gd name="T75" fmla="*/ 162 h 300"/>
              <a:gd name="T76" fmla="*/ 60 w 300"/>
              <a:gd name="T77" fmla="*/ 166 h 300"/>
              <a:gd name="T78" fmla="*/ 138 w 300"/>
              <a:gd name="T79" fmla="*/ 174 h 300"/>
              <a:gd name="T80" fmla="*/ 65 w 300"/>
              <a:gd name="T81" fmla="*/ 162 h 300"/>
              <a:gd name="T82" fmla="*/ 9 w 300"/>
              <a:gd name="T83" fmla="*/ 105 h 300"/>
              <a:gd name="T84" fmla="*/ 32 w 300"/>
              <a:gd name="T85" fmla="*/ 167 h 300"/>
              <a:gd name="T86" fmla="*/ 44 w 300"/>
              <a:gd name="T87" fmla="*/ 148 h 300"/>
              <a:gd name="T88" fmla="*/ 66 w 300"/>
              <a:gd name="T89" fmla="*/ 105 h 300"/>
              <a:gd name="T90" fmla="*/ 215 w 300"/>
              <a:gd name="T91" fmla="*/ 85 h 300"/>
              <a:gd name="T92" fmla="*/ 231 w 300"/>
              <a:gd name="T93" fmla="*/ 101 h 300"/>
              <a:gd name="T94" fmla="*/ 162 w 300"/>
              <a:gd name="T95" fmla="*/ 149 h 300"/>
              <a:gd name="T96" fmla="*/ 255 w 300"/>
              <a:gd name="T97" fmla="*/ 125 h 300"/>
              <a:gd name="T98" fmla="*/ 215 w 300"/>
              <a:gd name="T99" fmla="*/ 85 h 300"/>
              <a:gd name="T100" fmla="*/ 47 w 300"/>
              <a:gd name="T101" fmla="*/ 153 h 300"/>
              <a:gd name="T102" fmla="*/ 35 w 300"/>
              <a:gd name="T103" fmla="*/ 174 h 300"/>
              <a:gd name="T104" fmla="*/ 44 w 300"/>
              <a:gd name="T105" fmla="*/ 207 h 300"/>
              <a:gd name="T106" fmla="*/ 55 w 300"/>
              <a:gd name="T107" fmla="*/ 162 h 300"/>
              <a:gd name="T108" fmla="*/ 110 w 300"/>
              <a:gd name="T109" fmla="*/ 151 h 300"/>
              <a:gd name="T110" fmla="*/ 138 w 300"/>
              <a:gd name="T111" fmla="*/ 139 h 300"/>
              <a:gd name="T112" fmla="*/ 179 w 300"/>
              <a:gd name="T113" fmla="*/ 105 h 300"/>
              <a:gd name="T114" fmla="*/ 122 w 300"/>
              <a:gd name="T115" fmla="*/ 105 h 300"/>
              <a:gd name="T116" fmla="*/ 144 w 300"/>
              <a:gd name="T117" fmla="*/ 207 h 300"/>
              <a:gd name="T118" fmla="*/ 156 w 300"/>
              <a:gd name="T119" fmla="*/ 10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00" h="300">
                <a:moveTo>
                  <a:pt x="52" y="37"/>
                </a:moveTo>
                <a:cubicBezTo>
                  <a:pt x="75" y="60"/>
                  <a:pt x="75" y="60"/>
                  <a:pt x="75" y="60"/>
                </a:cubicBezTo>
                <a:cubicBezTo>
                  <a:pt x="60" y="75"/>
                  <a:pt x="60" y="75"/>
                  <a:pt x="60" y="75"/>
                </a:cubicBezTo>
                <a:cubicBezTo>
                  <a:pt x="37" y="52"/>
                  <a:pt x="37" y="52"/>
                  <a:pt x="37" y="52"/>
                </a:cubicBezTo>
                <a:cubicBezTo>
                  <a:pt x="15" y="75"/>
                  <a:pt x="15" y="75"/>
                  <a:pt x="15" y="75"/>
                </a:cubicBezTo>
                <a:cubicBezTo>
                  <a:pt x="0" y="60"/>
                  <a:pt x="0" y="60"/>
                  <a:pt x="0" y="60"/>
                </a:cubicBezTo>
                <a:cubicBezTo>
                  <a:pt x="23" y="37"/>
                  <a:pt x="23" y="37"/>
                  <a:pt x="23" y="37"/>
                </a:cubicBezTo>
                <a:cubicBezTo>
                  <a:pt x="0" y="15"/>
                  <a:pt x="0" y="15"/>
                  <a:pt x="0" y="15"/>
                </a:cubicBezTo>
                <a:cubicBezTo>
                  <a:pt x="15" y="0"/>
                  <a:pt x="15" y="0"/>
                  <a:pt x="15" y="0"/>
                </a:cubicBezTo>
                <a:cubicBezTo>
                  <a:pt x="37" y="22"/>
                  <a:pt x="37" y="22"/>
                  <a:pt x="37" y="22"/>
                </a:cubicBezTo>
                <a:cubicBezTo>
                  <a:pt x="60" y="0"/>
                  <a:pt x="60" y="0"/>
                  <a:pt x="60" y="0"/>
                </a:cubicBezTo>
                <a:cubicBezTo>
                  <a:pt x="75" y="15"/>
                  <a:pt x="75" y="15"/>
                  <a:pt x="75" y="15"/>
                </a:cubicBezTo>
                <a:lnTo>
                  <a:pt x="52" y="37"/>
                </a:lnTo>
                <a:close/>
                <a:moveTo>
                  <a:pt x="300" y="15"/>
                </a:moveTo>
                <a:cubicBezTo>
                  <a:pt x="285" y="0"/>
                  <a:pt x="285" y="0"/>
                  <a:pt x="285" y="0"/>
                </a:cubicBezTo>
                <a:cubicBezTo>
                  <a:pt x="262" y="22"/>
                  <a:pt x="262" y="22"/>
                  <a:pt x="262" y="22"/>
                </a:cubicBezTo>
                <a:cubicBezTo>
                  <a:pt x="240" y="0"/>
                  <a:pt x="240" y="0"/>
                  <a:pt x="240" y="0"/>
                </a:cubicBezTo>
                <a:cubicBezTo>
                  <a:pt x="225" y="15"/>
                  <a:pt x="225" y="15"/>
                  <a:pt x="225" y="15"/>
                </a:cubicBezTo>
                <a:cubicBezTo>
                  <a:pt x="248" y="37"/>
                  <a:pt x="248" y="37"/>
                  <a:pt x="248" y="37"/>
                </a:cubicBezTo>
                <a:cubicBezTo>
                  <a:pt x="225" y="60"/>
                  <a:pt x="225" y="60"/>
                  <a:pt x="225" y="60"/>
                </a:cubicBezTo>
                <a:cubicBezTo>
                  <a:pt x="240" y="75"/>
                  <a:pt x="240" y="75"/>
                  <a:pt x="240" y="75"/>
                </a:cubicBezTo>
                <a:cubicBezTo>
                  <a:pt x="262" y="52"/>
                  <a:pt x="262" y="52"/>
                  <a:pt x="262" y="52"/>
                </a:cubicBezTo>
                <a:cubicBezTo>
                  <a:pt x="285" y="75"/>
                  <a:pt x="285" y="75"/>
                  <a:pt x="285" y="75"/>
                </a:cubicBezTo>
                <a:cubicBezTo>
                  <a:pt x="300" y="60"/>
                  <a:pt x="300" y="60"/>
                  <a:pt x="300" y="60"/>
                </a:cubicBezTo>
                <a:cubicBezTo>
                  <a:pt x="277" y="37"/>
                  <a:pt x="277" y="37"/>
                  <a:pt x="277" y="37"/>
                </a:cubicBezTo>
                <a:lnTo>
                  <a:pt x="300" y="15"/>
                </a:lnTo>
                <a:close/>
                <a:moveTo>
                  <a:pt x="188" y="15"/>
                </a:moveTo>
                <a:cubicBezTo>
                  <a:pt x="173" y="0"/>
                  <a:pt x="173" y="0"/>
                  <a:pt x="173" y="0"/>
                </a:cubicBezTo>
                <a:cubicBezTo>
                  <a:pt x="150" y="22"/>
                  <a:pt x="150" y="22"/>
                  <a:pt x="150" y="22"/>
                </a:cubicBezTo>
                <a:cubicBezTo>
                  <a:pt x="128" y="0"/>
                  <a:pt x="128" y="0"/>
                  <a:pt x="128" y="0"/>
                </a:cubicBezTo>
                <a:cubicBezTo>
                  <a:pt x="113" y="15"/>
                  <a:pt x="113" y="15"/>
                  <a:pt x="113" y="15"/>
                </a:cubicBezTo>
                <a:cubicBezTo>
                  <a:pt x="135" y="37"/>
                  <a:pt x="135" y="37"/>
                  <a:pt x="135" y="37"/>
                </a:cubicBezTo>
                <a:cubicBezTo>
                  <a:pt x="113" y="60"/>
                  <a:pt x="113" y="60"/>
                  <a:pt x="113" y="60"/>
                </a:cubicBezTo>
                <a:cubicBezTo>
                  <a:pt x="128" y="75"/>
                  <a:pt x="128" y="75"/>
                  <a:pt x="128" y="75"/>
                </a:cubicBezTo>
                <a:cubicBezTo>
                  <a:pt x="150" y="52"/>
                  <a:pt x="150" y="52"/>
                  <a:pt x="150" y="52"/>
                </a:cubicBezTo>
                <a:cubicBezTo>
                  <a:pt x="173" y="75"/>
                  <a:pt x="173" y="75"/>
                  <a:pt x="173" y="75"/>
                </a:cubicBezTo>
                <a:cubicBezTo>
                  <a:pt x="188" y="60"/>
                  <a:pt x="188" y="60"/>
                  <a:pt x="188" y="60"/>
                </a:cubicBezTo>
                <a:cubicBezTo>
                  <a:pt x="165" y="37"/>
                  <a:pt x="165" y="37"/>
                  <a:pt x="165" y="37"/>
                </a:cubicBezTo>
                <a:lnTo>
                  <a:pt x="188" y="15"/>
                </a:lnTo>
                <a:close/>
                <a:moveTo>
                  <a:pt x="38" y="225"/>
                </a:moveTo>
                <a:cubicBezTo>
                  <a:pt x="17" y="225"/>
                  <a:pt x="0" y="242"/>
                  <a:pt x="0" y="262"/>
                </a:cubicBezTo>
                <a:cubicBezTo>
                  <a:pt x="0" y="283"/>
                  <a:pt x="17" y="300"/>
                  <a:pt x="38" y="300"/>
                </a:cubicBezTo>
                <a:cubicBezTo>
                  <a:pt x="58" y="300"/>
                  <a:pt x="75" y="283"/>
                  <a:pt x="75" y="262"/>
                </a:cubicBezTo>
                <a:cubicBezTo>
                  <a:pt x="75" y="242"/>
                  <a:pt x="58" y="225"/>
                  <a:pt x="38" y="225"/>
                </a:cubicBezTo>
                <a:close/>
                <a:moveTo>
                  <a:pt x="53" y="262"/>
                </a:moveTo>
                <a:cubicBezTo>
                  <a:pt x="53" y="271"/>
                  <a:pt x="46" y="277"/>
                  <a:pt x="38" y="277"/>
                </a:cubicBezTo>
                <a:cubicBezTo>
                  <a:pt x="29" y="277"/>
                  <a:pt x="23" y="271"/>
                  <a:pt x="23" y="262"/>
                </a:cubicBezTo>
                <a:cubicBezTo>
                  <a:pt x="23" y="254"/>
                  <a:pt x="29" y="247"/>
                  <a:pt x="38" y="247"/>
                </a:cubicBezTo>
                <a:cubicBezTo>
                  <a:pt x="46" y="247"/>
                  <a:pt x="53" y="254"/>
                  <a:pt x="53" y="262"/>
                </a:cubicBezTo>
                <a:close/>
                <a:moveTo>
                  <a:pt x="150" y="225"/>
                </a:moveTo>
                <a:cubicBezTo>
                  <a:pt x="129" y="225"/>
                  <a:pt x="113" y="242"/>
                  <a:pt x="113" y="262"/>
                </a:cubicBezTo>
                <a:cubicBezTo>
                  <a:pt x="113" y="283"/>
                  <a:pt x="129" y="300"/>
                  <a:pt x="150" y="300"/>
                </a:cubicBezTo>
                <a:cubicBezTo>
                  <a:pt x="171" y="300"/>
                  <a:pt x="188" y="283"/>
                  <a:pt x="188" y="262"/>
                </a:cubicBezTo>
                <a:cubicBezTo>
                  <a:pt x="188" y="242"/>
                  <a:pt x="171" y="225"/>
                  <a:pt x="150" y="225"/>
                </a:cubicBezTo>
                <a:close/>
                <a:moveTo>
                  <a:pt x="165" y="262"/>
                </a:moveTo>
                <a:cubicBezTo>
                  <a:pt x="165" y="271"/>
                  <a:pt x="158" y="277"/>
                  <a:pt x="150" y="277"/>
                </a:cubicBezTo>
                <a:cubicBezTo>
                  <a:pt x="142" y="277"/>
                  <a:pt x="135" y="271"/>
                  <a:pt x="135" y="262"/>
                </a:cubicBezTo>
                <a:cubicBezTo>
                  <a:pt x="135" y="254"/>
                  <a:pt x="142" y="247"/>
                  <a:pt x="150" y="247"/>
                </a:cubicBezTo>
                <a:cubicBezTo>
                  <a:pt x="158" y="247"/>
                  <a:pt x="165" y="254"/>
                  <a:pt x="165" y="262"/>
                </a:cubicBezTo>
                <a:close/>
                <a:moveTo>
                  <a:pt x="263" y="225"/>
                </a:moveTo>
                <a:cubicBezTo>
                  <a:pt x="242" y="225"/>
                  <a:pt x="225" y="242"/>
                  <a:pt x="225" y="262"/>
                </a:cubicBezTo>
                <a:cubicBezTo>
                  <a:pt x="225" y="283"/>
                  <a:pt x="242" y="300"/>
                  <a:pt x="263" y="300"/>
                </a:cubicBezTo>
                <a:cubicBezTo>
                  <a:pt x="283" y="300"/>
                  <a:pt x="300" y="283"/>
                  <a:pt x="300" y="262"/>
                </a:cubicBezTo>
                <a:cubicBezTo>
                  <a:pt x="300" y="242"/>
                  <a:pt x="283" y="225"/>
                  <a:pt x="263" y="225"/>
                </a:cubicBezTo>
                <a:close/>
                <a:moveTo>
                  <a:pt x="278" y="262"/>
                </a:moveTo>
                <a:cubicBezTo>
                  <a:pt x="278" y="271"/>
                  <a:pt x="271" y="277"/>
                  <a:pt x="263" y="277"/>
                </a:cubicBezTo>
                <a:cubicBezTo>
                  <a:pt x="254" y="277"/>
                  <a:pt x="248" y="271"/>
                  <a:pt x="248" y="262"/>
                </a:cubicBezTo>
                <a:cubicBezTo>
                  <a:pt x="248" y="254"/>
                  <a:pt x="254" y="247"/>
                  <a:pt x="263" y="247"/>
                </a:cubicBezTo>
                <a:cubicBezTo>
                  <a:pt x="271" y="247"/>
                  <a:pt x="278" y="254"/>
                  <a:pt x="278" y="262"/>
                </a:cubicBezTo>
                <a:close/>
                <a:moveTo>
                  <a:pt x="162" y="162"/>
                </a:moveTo>
                <a:cubicBezTo>
                  <a:pt x="162" y="174"/>
                  <a:pt x="162" y="174"/>
                  <a:pt x="162" y="174"/>
                </a:cubicBezTo>
                <a:cubicBezTo>
                  <a:pt x="257" y="174"/>
                  <a:pt x="257" y="174"/>
                  <a:pt x="257" y="174"/>
                </a:cubicBezTo>
                <a:cubicBezTo>
                  <a:pt x="257" y="207"/>
                  <a:pt x="257" y="207"/>
                  <a:pt x="257" y="207"/>
                </a:cubicBezTo>
                <a:cubicBezTo>
                  <a:pt x="269" y="207"/>
                  <a:pt x="269" y="207"/>
                  <a:pt x="269" y="207"/>
                </a:cubicBezTo>
                <a:cubicBezTo>
                  <a:pt x="269" y="162"/>
                  <a:pt x="269" y="162"/>
                  <a:pt x="269" y="162"/>
                </a:cubicBezTo>
                <a:lnTo>
                  <a:pt x="162" y="162"/>
                </a:lnTo>
                <a:close/>
                <a:moveTo>
                  <a:pt x="65" y="162"/>
                </a:moveTo>
                <a:cubicBezTo>
                  <a:pt x="63" y="163"/>
                  <a:pt x="62" y="164"/>
                  <a:pt x="60" y="166"/>
                </a:cubicBezTo>
                <a:cubicBezTo>
                  <a:pt x="58" y="168"/>
                  <a:pt x="56" y="171"/>
                  <a:pt x="55" y="174"/>
                </a:cubicBezTo>
                <a:cubicBezTo>
                  <a:pt x="138" y="174"/>
                  <a:pt x="138" y="174"/>
                  <a:pt x="138" y="174"/>
                </a:cubicBezTo>
                <a:cubicBezTo>
                  <a:pt x="138" y="162"/>
                  <a:pt x="138" y="162"/>
                  <a:pt x="138" y="162"/>
                </a:cubicBezTo>
                <a:lnTo>
                  <a:pt x="65" y="162"/>
                </a:lnTo>
                <a:close/>
                <a:moveTo>
                  <a:pt x="38" y="76"/>
                </a:moveTo>
                <a:cubicBezTo>
                  <a:pt x="9" y="105"/>
                  <a:pt x="9" y="105"/>
                  <a:pt x="9" y="105"/>
                </a:cubicBezTo>
                <a:cubicBezTo>
                  <a:pt x="32" y="105"/>
                  <a:pt x="32" y="105"/>
                  <a:pt x="32" y="105"/>
                </a:cubicBezTo>
                <a:cubicBezTo>
                  <a:pt x="32" y="167"/>
                  <a:pt x="32" y="167"/>
                  <a:pt x="32" y="167"/>
                </a:cubicBezTo>
                <a:cubicBezTo>
                  <a:pt x="34" y="160"/>
                  <a:pt x="38" y="154"/>
                  <a:pt x="43" y="149"/>
                </a:cubicBezTo>
                <a:cubicBezTo>
                  <a:pt x="43" y="149"/>
                  <a:pt x="43" y="148"/>
                  <a:pt x="44" y="148"/>
                </a:cubicBezTo>
                <a:cubicBezTo>
                  <a:pt x="44" y="105"/>
                  <a:pt x="44" y="105"/>
                  <a:pt x="44" y="105"/>
                </a:cubicBezTo>
                <a:cubicBezTo>
                  <a:pt x="66" y="105"/>
                  <a:pt x="66" y="105"/>
                  <a:pt x="66" y="105"/>
                </a:cubicBezTo>
                <a:lnTo>
                  <a:pt x="38" y="76"/>
                </a:lnTo>
                <a:close/>
                <a:moveTo>
                  <a:pt x="215" y="85"/>
                </a:moveTo>
                <a:cubicBezTo>
                  <a:pt x="235" y="105"/>
                  <a:pt x="235" y="105"/>
                  <a:pt x="235" y="105"/>
                </a:cubicBezTo>
                <a:cubicBezTo>
                  <a:pt x="231" y="101"/>
                  <a:pt x="231" y="101"/>
                  <a:pt x="231" y="101"/>
                </a:cubicBezTo>
                <a:cubicBezTo>
                  <a:pt x="208" y="123"/>
                  <a:pt x="185" y="133"/>
                  <a:pt x="162" y="137"/>
                </a:cubicBezTo>
                <a:cubicBezTo>
                  <a:pt x="162" y="149"/>
                  <a:pt x="162" y="149"/>
                  <a:pt x="162" y="149"/>
                </a:cubicBezTo>
                <a:cubicBezTo>
                  <a:pt x="187" y="145"/>
                  <a:pt x="214" y="135"/>
                  <a:pt x="239" y="109"/>
                </a:cubicBezTo>
                <a:cubicBezTo>
                  <a:pt x="255" y="125"/>
                  <a:pt x="255" y="125"/>
                  <a:pt x="255" y="125"/>
                </a:cubicBezTo>
                <a:cubicBezTo>
                  <a:pt x="255" y="85"/>
                  <a:pt x="255" y="85"/>
                  <a:pt x="255" y="85"/>
                </a:cubicBezTo>
                <a:lnTo>
                  <a:pt x="215" y="85"/>
                </a:lnTo>
                <a:close/>
                <a:moveTo>
                  <a:pt x="111" y="139"/>
                </a:moveTo>
                <a:cubicBezTo>
                  <a:pt x="85" y="139"/>
                  <a:pt x="62" y="138"/>
                  <a:pt x="47" y="153"/>
                </a:cubicBezTo>
                <a:cubicBezTo>
                  <a:pt x="46" y="154"/>
                  <a:pt x="45" y="156"/>
                  <a:pt x="44" y="157"/>
                </a:cubicBezTo>
                <a:cubicBezTo>
                  <a:pt x="40" y="162"/>
                  <a:pt x="37" y="167"/>
                  <a:pt x="35" y="174"/>
                </a:cubicBezTo>
                <a:cubicBezTo>
                  <a:pt x="33" y="183"/>
                  <a:pt x="32" y="194"/>
                  <a:pt x="32" y="207"/>
                </a:cubicBezTo>
                <a:cubicBezTo>
                  <a:pt x="44" y="207"/>
                  <a:pt x="44" y="207"/>
                  <a:pt x="44" y="207"/>
                </a:cubicBezTo>
                <a:cubicBezTo>
                  <a:pt x="44" y="193"/>
                  <a:pt x="45" y="182"/>
                  <a:pt x="48" y="174"/>
                </a:cubicBezTo>
                <a:cubicBezTo>
                  <a:pt x="50" y="169"/>
                  <a:pt x="52" y="165"/>
                  <a:pt x="55" y="162"/>
                </a:cubicBezTo>
                <a:cubicBezTo>
                  <a:pt x="56" y="162"/>
                  <a:pt x="56" y="162"/>
                  <a:pt x="56" y="161"/>
                </a:cubicBezTo>
                <a:cubicBezTo>
                  <a:pt x="67" y="150"/>
                  <a:pt x="86" y="151"/>
                  <a:pt x="110" y="151"/>
                </a:cubicBezTo>
                <a:cubicBezTo>
                  <a:pt x="119" y="151"/>
                  <a:pt x="128" y="152"/>
                  <a:pt x="138" y="151"/>
                </a:cubicBezTo>
                <a:cubicBezTo>
                  <a:pt x="138" y="139"/>
                  <a:pt x="138" y="139"/>
                  <a:pt x="138" y="139"/>
                </a:cubicBezTo>
                <a:cubicBezTo>
                  <a:pt x="128" y="140"/>
                  <a:pt x="119" y="139"/>
                  <a:pt x="111" y="139"/>
                </a:cubicBezTo>
                <a:close/>
                <a:moveTo>
                  <a:pt x="179" y="105"/>
                </a:moveTo>
                <a:cubicBezTo>
                  <a:pt x="150" y="76"/>
                  <a:pt x="150" y="76"/>
                  <a:pt x="150" y="76"/>
                </a:cubicBezTo>
                <a:cubicBezTo>
                  <a:pt x="122" y="105"/>
                  <a:pt x="122" y="105"/>
                  <a:pt x="122" y="105"/>
                </a:cubicBezTo>
                <a:cubicBezTo>
                  <a:pt x="144" y="105"/>
                  <a:pt x="144" y="105"/>
                  <a:pt x="144" y="105"/>
                </a:cubicBezTo>
                <a:cubicBezTo>
                  <a:pt x="144" y="207"/>
                  <a:pt x="144" y="207"/>
                  <a:pt x="144" y="207"/>
                </a:cubicBezTo>
                <a:cubicBezTo>
                  <a:pt x="156" y="207"/>
                  <a:pt x="156" y="207"/>
                  <a:pt x="156" y="207"/>
                </a:cubicBezTo>
                <a:cubicBezTo>
                  <a:pt x="156" y="105"/>
                  <a:pt x="156" y="105"/>
                  <a:pt x="156" y="105"/>
                </a:cubicBezTo>
                <a:lnTo>
                  <a:pt x="179" y="10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3278437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500" fill="hold"/>
                                        <p:tgtEl>
                                          <p:spTgt spid="10"/>
                                        </p:tgtEl>
                                        <p:attrNameLst>
                                          <p:attrName>ppt_x</p:attrName>
                                        </p:attrNameLst>
                                      </p:cBhvr>
                                      <p:tavLst>
                                        <p:tav tm="0">
                                          <p:val>
                                            <p:strVal val="1+#ppt_w/2"/>
                                          </p:val>
                                        </p:tav>
                                        <p:tav tm="100000">
                                          <p:val>
                                            <p:strVal val="#ppt_x"/>
                                          </p:val>
                                        </p:tav>
                                      </p:tavLst>
                                    </p:anim>
                                    <p:anim calcmode="lin" valueType="num">
                                      <p:cBhvr additive="base">
                                        <p:cTn id="12" dur="500" fill="hold"/>
                                        <p:tgtEl>
                                          <p:spTgt spid="10"/>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500"/>
                                  </p:stCondLst>
                                  <p:childTnLst>
                                    <p:set>
                                      <p:cBhvr>
                                        <p:cTn id="14" dur="1" fill="hold">
                                          <p:stCondLst>
                                            <p:cond delay="0"/>
                                          </p:stCondLst>
                                        </p:cTn>
                                        <p:tgtEl>
                                          <p:spTgt spid="15"/>
                                        </p:tgtEl>
                                        <p:attrNameLst>
                                          <p:attrName>style.visibility</p:attrName>
                                        </p:attrNameLst>
                                      </p:cBhvr>
                                      <p:to>
                                        <p:strVal val="visible"/>
                                      </p:to>
                                    </p:set>
                                    <p:anim calcmode="lin" valueType="num">
                                      <p:cBhvr additive="base">
                                        <p:cTn id="15" dur="500" fill="hold"/>
                                        <p:tgtEl>
                                          <p:spTgt spid="15"/>
                                        </p:tgtEl>
                                        <p:attrNameLst>
                                          <p:attrName>ppt_x</p:attrName>
                                        </p:attrNameLst>
                                      </p:cBhvr>
                                      <p:tavLst>
                                        <p:tav tm="0">
                                          <p:val>
                                            <p:strVal val="1+#ppt_w/2"/>
                                          </p:val>
                                        </p:tav>
                                        <p:tav tm="100000">
                                          <p:val>
                                            <p:strVal val="#ppt_x"/>
                                          </p:val>
                                        </p:tav>
                                      </p:tavLst>
                                    </p:anim>
                                    <p:anim calcmode="lin" valueType="num">
                                      <p:cBhvr additive="base">
                                        <p:cTn id="16" dur="500" fill="hold"/>
                                        <p:tgtEl>
                                          <p:spTgt spid="1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5" grpId="0" build="p"/>
      <p:bldP spid="15"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70937910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470"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Code Completion</a:t>
            </a:r>
            <a:endParaRPr lang="en-US" dirty="0"/>
          </a:p>
        </p:txBody>
      </p:sp>
      <p:sp>
        <p:nvSpPr>
          <p:cNvPr id="11" name="Content Placeholder 10"/>
          <p:cNvSpPr>
            <a:spLocks noGrp="1"/>
          </p:cNvSpPr>
          <p:nvPr>
            <p:ph type="body" sz="quarter" idx="10"/>
            <p:custDataLst>
              <p:tags r:id="rId4"/>
            </p:custDataLst>
          </p:nvPr>
        </p:nvSpPr>
        <p:spPr>
          <a:xfrm>
            <a:off x="519112" y="1447799"/>
            <a:ext cx="11149013" cy="1483483"/>
          </a:xfrm>
        </p:spPr>
        <p:txBody>
          <a:bodyPr/>
          <a:lstStyle/>
          <a:p>
            <a:pPr>
              <a:spcAft>
                <a:spcPts val="1200"/>
              </a:spcAft>
            </a:pPr>
            <a:r>
              <a:rPr lang="en-US" dirty="0" smtClean="0">
                <a:gradFill>
                  <a:gsLst>
                    <a:gs pos="0">
                      <a:schemeClr val="accent2"/>
                    </a:gs>
                    <a:gs pos="100000">
                      <a:schemeClr val="accent2"/>
                    </a:gs>
                  </a:gsLst>
                  <a:lin ang="5400000" scaled="0"/>
                </a:gradFill>
                <a:latin typeface="Segoe UI Light" pitchFamily="34" charset="0"/>
              </a:rPr>
              <a:t>Text Editing Improvements</a:t>
            </a:r>
          </a:p>
          <a:p>
            <a:pPr>
              <a:spcAft>
                <a:spcPts val="1200"/>
              </a:spcAft>
            </a:pPr>
            <a:r>
              <a:rPr lang="en-US" dirty="0" err="1" smtClean="0"/>
              <a:t>WebMatrix</a:t>
            </a:r>
            <a:r>
              <a:rPr lang="en-US" dirty="0" smtClean="0"/>
              <a:t> adds code completion features</a:t>
            </a:r>
            <a:br>
              <a:rPr lang="en-US" dirty="0" smtClean="0"/>
            </a:br>
            <a:r>
              <a:rPr lang="en-US" dirty="0" smtClean="0"/>
              <a:t>for HTML 5, CSS 3, Razor syntax…</a:t>
            </a:r>
            <a:endParaRPr lang="en-US" dirty="0"/>
          </a:p>
        </p:txBody>
      </p:sp>
      <p:sp>
        <p:nvSpPr>
          <p:cNvPr id="6" name="Rectangle 5"/>
          <p:cNvSpPr/>
          <p:nvPr/>
        </p:nvSpPr>
        <p:spPr bwMode="auto">
          <a:xfrm>
            <a:off x="9072081" y="1141413"/>
            <a:ext cx="2603981" cy="571658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 name="Freeform 83"/>
          <p:cNvSpPr>
            <a:spLocks noEditPoints="1"/>
          </p:cNvSpPr>
          <p:nvPr/>
        </p:nvSpPr>
        <p:spPr bwMode="black">
          <a:xfrm>
            <a:off x="9275862" y="1447799"/>
            <a:ext cx="2196417" cy="2318597"/>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909695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25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ppt_x"/>
                                          </p:val>
                                        </p:tav>
                                        <p:tav tm="100000">
                                          <p:val>
                                            <p:strVal val="#ppt_x"/>
                                          </p:val>
                                        </p:tav>
                                      </p:tavLst>
                                    </p:anim>
                                    <p:anim calcmode="lin" valueType="num">
                                      <p:cBhvr additive="base">
                                        <p:cTn id="12"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5635487" y="1695450"/>
            <a:ext cx="6040576" cy="40891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336098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49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p:txBody>
          <a:bodyPr/>
          <a:lstStyle/>
          <a:p>
            <a:r>
              <a:rPr lang="en-US" dirty="0" smtClean="0"/>
              <a:t>Code Completion</a:t>
            </a:r>
            <a:endParaRPr lang="en-US" dirty="0"/>
          </a:p>
        </p:txBody>
      </p:sp>
      <p:sp>
        <p:nvSpPr>
          <p:cNvPr id="5" name="Text Placeholder 4"/>
          <p:cNvSpPr>
            <a:spLocks noGrp="1"/>
          </p:cNvSpPr>
          <p:nvPr>
            <p:ph type="body" sz="quarter" idx="10"/>
          </p:nvPr>
        </p:nvSpPr>
        <p:spPr>
          <a:xfrm>
            <a:off x="519112" y="3463013"/>
            <a:ext cx="5116375" cy="553998"/>
          </a:xfrm>
        </p:spPr>
        <p:txBody>
          <a:bodyPr/>
          <a:lstStyle/>
          <a:p>
            <a:r>
              <a:rPr lang="en-US" dirty="0" smtClean="0"/>
              <a:t>PHP and Node.js, too!</a:t>
            </a:r>
            <a:endParaRPr lang="en-US" dirty="0"/>
          </a:p>
        </p:txBody>
      </p:sp>
      <p:sp>
        <p:nvSpPr>
          <p:cNvPr id="15" name="Freeform 21"/>
          <p:cNvSpPr>
            <a:spLocks noEditPoints="1"/>
          </p:cNvSpPr>
          <p:nvPr/>
        </p:nvSpPr>
        <p:spPr bwMode="black">
          <a:xfrm>
            <a:off x="7461759" y="2546307"/>
            <a:ext cx="2388032" cy="2387410"/>
          </a:xfrm>
          <a:custGeom>
            <a:avLst/>
            <a:gdLst>
              <a:gd name="T0" fmla="*/ 75 w 300"/>
              <a:gd name="T1" fmla="*/ 60 h 300"/>
              <a:gd name="T2" fmla="*/ 37 w 300"/>
              <a:gd name="T3" fmla="*/ 52 h 300"/>
              <a:gd name="T4" fmla="*/ 0 w 300"/>
              <a:gd name="T5" fmla="*/ 60 h 300"/>
              <a:gd name="T6" fmla="*/ 0 w 300"/>
              <a:gd name="T7" fmla="*/ 15 h 300"/>
              <a:gd name="T8" fmla="*/ 37 w 300"/>
              <a:gd name="T9" fmla="*/ 22 h 300"/>
              <a:gd name="T10" fmla="*/ 75 w 300"/>
              <a:gd name="T11" fmla="*/ 15 h 300"/>
              <a:gd name="T12" fmla="*/ 300 w 300"/>
              <a:gd name="T13" fmla="*/ 15 h 300"/>
              <a:gd name="T14" fmla="*/ 262 w 300"/>
              <a:gd name="T15" fmla="*/ 22 h 300"/>
              <a:gd name="T16" fmla="*/ 225 w 300"/>
              <a:gd name="T17" fmla="*/ 15 h 300"/>
              <a:gd name="T18" fmla="*/ 225 w 300"/>
              <a:gd name="T19" fmla="*/ 60 h 300"/>
              <a:gd name="T20" fmla="*/ 262 w 300"/>
              <a:gd name="T21" fmla="*/ 52 h 300"/>
              <a:gd name="T22" fmla="*/ 300 w 300"/>
              <a:gd name="T23" fmla="*/ 60 h 300"/>
              <a:gd name="T24" fmla="*/ 300 w 300"/>
              <a:gd name="T25" fmla="*/ 15 h 300"/>
              <a:gd name="T26" fmla="*/ 173 w 300"/>
              <a:gd name="T27" fmla="*/ 0 h 300"/>
              <a:gd name="T28" fmla="*/ 128 w 300"/>
              <a:gd name="T29" fmla="*/ 0 h 300"/>
              <a:gd name="T30" fmla="*/ 135 w 300"/>
              <a:gd name="T31" fmla="*/ 37 h 300"/>
              <a:gd name="T32" fmla="*/ 128 w 300"/>
              <a:gd name="T33" fmla="*/ 75 h 300"/>
              <a:gd name="T34" fmla="*/ 173 w 300"/>
              <a:gd name="T35" fmla="*/ 75 h 300"/>
              <a:gd name="T36" fmla="*/ 165 w 300"/>
              <a:gd name="T37" fmla="*/ 37 h 300"/>
              <a:gd name="T38" fmla="*/ 38 w 300"/>
              <a:gd name="T39" fmla="*/ 225 h 300"/>
              <a:gd name="T40" fmla="*/ 38 w 300"/>
              <a:gd name="T41" fmla="*/ 300 h 300"/>
              <a:gd name="T42" fmla="*/ 38 w 300"/>
              <a:gd name="T43" fmla="*/ 225 h 300"/>
              <a:gd name="T44" fmla="*/ 38 w 300"/>
              <a:gd name="T45" fmla="*/ 277 h 300"/>
              <a:gd name="T46" fmla="*/ 38 w 300"/>
              <a:gd name="T47" fmla="*/ 247 h 300"/>
              <a:gd name="T48" fmla="*/ 150 w 300"/>
              <a:gd name="T49" fmla="*/ 225 h 300"/>
              <a:gd name="T50" fmla="*/ 150 w 300"/>
              <a:gd name="T51" fmla="*/ 300 h 300"/>
              <a:gd name="T52" fmla="*/ 150 w 300"/>
              <a:gd name="T53" fmla="*/ 225 h 300"/>
              <a:gd name="T54" fmla="*/ 150 w 300"/>
              <a:gd name="T55" fmla="*/ 277 h 300"/>
              <a:gd name="T56" fmla="*/ 150 w 300"/>
              <a:gd name="T57" fmla="*/ 247 h 300"/>
              <a:gd name="T58" fmla="*/ 263 w 300"/>
              <a:gd name="T59" fmla="*/ 225 h 300"/>
              <a:gd name="T60" fmla="*/ 263 w 300"/>
              <a:gd name="T61" fmla="*/ 300 h 300"/>
              <a:gd name="T62" fmla="*/ 263 w 300"/>
              <a:gd name="T63" fmla="*/ 225 h 300"/>
              <a:gd name="T64" fmla="*/ 263 w 300"/>
              <a:gd name="T65" fmla="*/ 277 h 300"/>
              <a:gd name="T66" fmla="*/ 263 w 300"/>
              <a:gd name="T67" fmla="*/ 247 h 300"/>
              <a:gd name="T68" fmla="*/ 162 w 300"/>
              <a:gd name="T69" fmla="*/ 162 h 300"/>
              <a:gd name="T70" fmla="*/ 257 w 300"/>
              <a:gd name="T71" fmla="*/ 174 h 300"/>
              <a:gd name="T72" fmla="*/ 269 w 300"/>
              <a:gd name="T73" fmla="*/ 207 h 300"/>
              <a:gd name="T74" fmla="*/ 162 w 300"/>
              <a:gd name="T75" fmla="*/ 162 h 300"/>
              <a:gd name="T76" fmla="*/ 60 w 300"/>
              <a:gd name="T77" fmla="*/ 166 h 300"/>
              <a:gd name="T78" fmla="*/ 138 w 300"/>
              <a:gd name="T79" fmla="*/ 174 h 300"/>
              <a:gd name="T80" fmla="*/ 65 w 300"/>
              <a:gd name="T81" fmla="*/ 162 h 300"/>
              <a:gd name="T82" fmla="*/ 9 w 300"/>
              <a:gd name="T83" fmla="*/ 105 h 300"/>
              <a:gd name="T84" fmla="*/ 32 w 300"/>
              <a:gd name="T85" fmla="*/ 167 h 300"/>
              <a:gd name="T86" fmla="*/ 44 w 300"/>
              <a:gd name="T87" fmla="*/ 148 h 300"/>
              <a:gd name="T88" fmla="*/ 66 w 300"/>
              <a:gd name="T89" fmla="*/ 105 h 300"/>
              <a:gd name="T90" fmla="*/ 215 w 300"/>
              <a:gd name="T91" fmla="*/ 85 h 300"/>
              <a:gd name="T92" fmla="*/ 231 w 300"/>
              <a:gd name="T93" fmla="*/ 101 h 300"/>
              <a:gd name="T94" fmla="*/ 162 w 300"/>
              <a:gd name="T95" fmla="*/ 149 h 300"/>
              <a:gd name="T96" fmla="*/ 255 w 300"/>
              <a:gd name="T97" fmla="*/ 125 h 300"/>
              <a:gd name="T98" fmla="*/ 215 w 300"/>
              <a:gd name="T99" fmla="*/ 85 h 300"/>
              <a:gd name="T100" fmla="*/ 47 w 300"/>
              <a:gd name="T101" fmla="*/ 153 h 300"/>
              <a:gd name="T102" fmla="*/ 35 w 300"/>
              <a:gd name="T103" fmla="*/ 174 h 300"/>
              <a:gd name="T104" fmla="*/ 44 w 300"/>
              <a:gd name="T105" fmla="*/ 207 h 300"/>
              <a:gd name="T106" fmla="*/ 55 w 300"/>
              <a:gd name="T107" fmla="*/ 162 h 300"/>
              <a:gd name="T108" fmla="*/ 110 w 300"/>
              <a:gd name="T109" fmla="*/ 151 h 300"/>
              <a:gd name="T110" fmla="*/ 138 w 300"/>
              <a:gd name="T111" fmla="*/ 139 h 300"/>
              <a:gd name="T112" fmla="*/ 179 w 300"/>
              <a:gd name="T113" fmla="*/ 105 h 300"/>
              <a:gd name="T114" fmla="*/ 122 w 300"/>
              <a:gd name="T115" fmla="*/ 105 h 300"/>
              <a:gd name="T116" fmla="*/ 144 w 300"/>
              <a:gd name="T117" fmla="*/ 207 h 300"/>
              <a:gd name="T118" fmla="*/ 156 w 300"/>
              <a:gd name="T119" fmla="*/ 10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00" h="300">
                <a:moveTo>
                  <a:pt x="52" y="37"/>
                </a:moveTo>
                <a:cubicBezTo>
                  <a:pt x="75" y="60"/>
                  <a:pt x="75" y="60"/>
                  <a:pt x="75" y="60"/>
                </a:cubicBezTo>
                <a:cubicBezTo>
                  <a:pt x="60" y="75"/>
                  <a:pt x="60" y="75"/>
                  <a:pt x="60" y="75"/>
                </a:cubicBezTo>
                <a:cubicBezTo>
                  <a:pt x="37" y="52"/>
                  <a:pt x="37" y="52"/>
                  <a:pt x="37" y="52"/>
                </a:cubicBezTo>
                <a:cubicBezTo>
                  <a:pt x="15" y="75"/>
                  <a:pt x="15" y="75"/>
                  <a:pt x="15" y="75"/>
                </a:cubicBezTo>
                <a:cubicBezTo>
                  <a:pt x="0" y="60"/>
                  <a:pt x="0" y="60"/>
                  <a:pt x="0" y="60"/>
                </a:cubicBezTo>
                <a:cubicBezTo>
                  <a:pt x="23" y="37"/>
                  <a:pt x="23" y="37"/>
                  <a:pt x="23" y="37"/>
                </a:cubicBezTo>
                <a:cubicBezTo>
                  <a:pt x="0" y="15"/>
                  <a:pt x="0" y="15"/>
                  <a:pt x="0" y="15"/>
                </a:cubicBezTo>
                <a:cubicBezTo>
                  <a:pt x="15" y="0"/>
                  <a:pt x="15" y="0"/>
                  <a:pt x="15" y="0"/>
                </a:cubicBezTo>
                <a:cubicBezTo>
                  <a:pt x="37" y="22"/>
                  <a:pt x="37" y="22"/>
                  <a:pt x="37" y="22"/>
                </a:cubicBezTo>
                <a:cubicBezTo>
                  <a:pt x="60" y="0"/>
                  <a:pt x="60" y="0"/>
                  <a:pt x="60" y="0"/>
                </a:cubicBezTo>
                <a:cubicBezTo>
                  <a:pt x="75" y="15"/>
                  <a:pt x="75" y="15"/>
                  <a:pt x="75" y="15"/>
                </a:cubicBezTo>
                <a:lnTo>
                  <a:pt x="52" y="37"/>
                </a:lnTo>
                <a:close/>
                <a:moveTo>
                  <a:pt x="300" y="15"/>
                </a:moveTo>
                <a:cubicBezTo>
                  <a:pt x="285" y="0"/>
                  <a:pt x="285" y="0"/>
                  <a:pt x="285" y="0"/>
                </a:cubicBezTo>
                <a:cubicBezTo>
                  <a:pt x="262" y="22"/>
                  <a:pt x="262" y="22"/>
                  <a:pt x="262" y="22"/>
                </a:cubicBezTo>
                <a:cubicBezTo>
                  <a:pt x="240" y="0"/>
                  <a:pt x="240" y="0"/>
                  <a:pt x="240" y="0"/>
                </a:cubicBezTo>
                <a:cubicBezTo>
                  <a:pt x="225" y="15"/>
                  <a:pt x="225" y="15"/>
                  <a:pt x="225" y="15"/>
                </a:cubicBezTo>
                <a:cubicBezTo>
                  <a:pt x="248" y="37"/>
                  <a:pt x="248" y="37"/>
                  <a:pt x="248" y="37"/>
                </a:cubicBezTo>
                <a:cubicBezTo>
                  <a:pt x="225" y="60"/>
                  <a:pt x="225" y="60"/>
                  <a:pt x="225" y="60"/>
                </a:cubicBezTo>
                <a:cubicBezTo>
                  <a:pt x="240" y="75"/>
                  <a:pt x="240" y="75"/>
                  <a:pt x="240" y="75"/>
                </a:cubicBezTo>
                <a:cubicBezTo>
                  <a:pt x="262" y="52"/>
                  <a:pt x="262" y="52"/>
                  <a:pt x="262" y="52"/>
                </a:cubicBezTo>
                <a:cubicBezTo>
                  <a:pt x="285" y="75"/>
                  <a:pt x="285" y="75"/>
                  <a:pt x="285" y="75"/>
                </a:cubicBezTo>
                <a:cubicBezTo>
                  <a:pt x="300" y="60"/>
                  <a:pt x="300" y="60"/>
                  <a:pt x="300" y="60"/>
                </a:cubicBezTo>
                <a:cubicBezTo>
                  <a:pt x="277" y="37"/>
                  <a:pt x="277" y="37"/>
                  <a:pt x="277" y="37"/>
                </a:cubicBezTo>
                <a:lnTo>
                  <a:pt x="300" y="15"/>
                </a:lnTo>
                <a:close/>
                <a:moveTo>
                  <a:pt x="188" y="15"/>
                </a:moveTo>
                <a:cubicBezTo>
                  <a:pt x="173" y="0"/>
                  <a:pt x="173" y="0"/>
                  <a:pt x="173" y="0"/>
                </a:cubicBezTo>
                <a:cubicBezTo>
                  <a:pt x="150" y="22"/>
                  <a:pt x="150" y="22"/>
                  <a:pt x="150" y="22"/>
                </a:cubicBezTo>
                <a:cubicBezTo>
                  <a:pt x="128" y="0"/>
                  <a:pt x="128" y="0"/>
                  <a:pt x="128" y="0"/>
                </a:cubicBezTo>
                <a:cubicBezTo>
                  <a:pt x="113" y="15"/>
                  <a:pt x="113" y="15"/>
                  <a:pt x="113" y="15"/>
                </a:cubicBezTo>
                <a:cubicBezTo>
                  <a:pt x="135" y="37"/>
                  <a:pt x="135" y="37"/>
                  <a:pt x="135" y="37"/>
                </a:cubicBezTo>
                <a:cubicBezTo>
                  <a:pt x="113" y="60"/>
                  <a:pt x="113" y="60"/>
                  <a:pt x="113" y="60"/>
                </a:cubicBezTo>
                <a:cubicBezTo>
                  <a:pt x="128" y="75"/>
                  <a:pt x="128" y="75"/>
                  <a:pt x="128" y="75"/>
                </a:cubicBezTo>
                <a:cubicBezTo>
                  <a:pt x="150" y="52"/>
                  <a:pt x="150" y="52"/>
                  <a:pt x="150" y="52"/>
                </a:cubicBezTo>
                <a:cubicBezTo>
                  <a:pt x="173" y="75"/>
                  <a:pt x="173" y="75"/>
                  <a:pt x="173" y="75"/>
                </a:cubicBezTo>
                <a:cubicBezTo>
                  <a:pt x="188" y="60"/>
                  <a:pt x="188" y="60"/>
                  <a:pt x="188" y="60"/>
                </a:cubicBezTo>
                <a:cubicBezTo>
                  <a:pt x="165" y="37"/>
                  <a:pt x="165" y="37"/>
                  <a:pt x="165" y="37"/>
                </a:cubicBezTo>
                <a:lnTo>
                  <a:pt x="188" y="15"/>
                </a:lnTo>
                <a:close/>
                <a:moveTo>
                  <a:pt x="38" y="225"/>
                </a:moveTo>
                <a:cubicBezTo>
                  <a:pt x="17" y="225"/>
                  <a:pt x="0" y="242"/>
                  <a:pt x="0" y="262"/>
                </a:cubicBezTo>
                <a:cubicBezTo>
                  <a:pt x="0" y="283"/>
                  <a:pt x="17" y="300"/>
                  <a:pt x="38" y="300"/>
                </a:cubicBezTo>
                <a:cubicBezTo>
                  <a:pt x="58" y="300"/>
                  <a:pt x="75" y="283"/>
                  <a:pt x="75" y="262"/>
                </a:cubicBezTo>
                <a:cubicBezTo>
                  <a:pt x="75" y="242"/>
                  <a:pt x="58" y="225"/>
                  <a:pt x="38" y="225"/>
                </a:cubicBezTo>
                <a:close/>
                <a:moveTo>
                  <a:pt x="53" y="262"/>
                </a:moveTo>
                <a:cubicBezTo>
                  <a:pt x="53" y="271"/>
                  <a:pt x="46" y="277"/>
                  <a:pt x="38" y="277"/>
                </a:cubicBezTo>
                <a:cubicBezTo>
                  <a:pt x="29" y="277"/>
                  <a:pt x="23" y="271"/>
                  <a:pt x="23" y="262"/>
                </a:cubicBezTo>
                <a:cubicBezTo>
                  <a:pt x="23" y="254"/>
                  <a:pt x="29" y="247"/>
                  <a:pt x="38" y="247"/>
                </a:cubicBezTo>
                <a:cubicBezTo>
                  <a:pt x="46" y="247"/>
                  <a:pt x="53" y="254"/>
                  <a:pt x="53" y="262"/>
                </a:cubicBezTo>
                <a:close/>
                <a:moveTo>
                  <a:pt x="150" y="225"/>
                </a:moveTo>
                <a:cubicBezTo>
                  <a:pt x="129" y="225"/>
                  <a:pt x="113" y="242"/>
                  <a:pt x="113" y="262"/>
                </a:cubicBezTo>
                <a:cubicBezTo>
                  <a:pt x="113" y="283"/>
                  <a:pt x="129" y="300"/>
                  <a:pt x="150" y="300"/>
                </a:cubicBezTo>
                <a:cubicBezTo>
                  <a:pt x="171" y="300"/>
                  <a:pt x="188" y="283"/>
                  <a:pt x="188" y="262"/>
                </a:cubicBezTo>
                <a:cubicBezTo>
                  <a:pt x="188" y="242"/>
                  <a:pt x="171" y="225"/>
                  <a:pt x="150" y="225"/>
                </a:cubicBezTo>
                <a:close/>
                <a:moveTo>
                  <a:pt x="165" y="262"/>
                </a:moveTo>
                <a:cubicBezTo>
                  <a:pt x="165" y="271"/>
                  <a:pt x="158" y="277"/>
                  <a:pt x="150" y="277"/>
                </a:cubicBezTo>
                <a:cubicBezTo>
                  <a:pt x="142" y="277"/>
                  <a:pt x="135" y="271"/>
                  <a:pt x="135" y="262"/>
                </a:cubicBezTo>
                <a:cubicBezTo>
                  <a:pt x="135" y="254"/>
                  <a:pt x="142" y="247"/>
                  <a:pt x="150" y="247"/>
                </a:cubicBezTo>
                <a:cubicBezTo>
                  <a:pt x="158" y="247"/>
                  <a:pt x="165" y="254"/>
                  <a:pt x="165" y="262"/>
                </a:cubicBezTo>
                <a:close/>
                <a:moveTo>
                  <a:pt x="263" y="225"/>
                </a:moveTo>
                <a:cubicBezTo>
                  <a:pt x="242" y="225"/>
                  <a:pt x="225" y="242"/>
                  <a:pt x="225" y="262"/>
                </a:cubicBezTo>
                <a:cubicBezTo>
                  <a:pt x="225" y="283"/>
                  <a:pt x="242" y="300"/>
                  <a:pt x="263" y="300"/>
                </a:cubicBezTo>
                <a:cubicBezTo>
                  <a:pt x="283" y="300"/>
                  <a:pt x="300" y="283"/>
                  <a:pt x="300" y="262"/>
                </a:cubicBezTo>
                <a:cubicBezTo>
                  <a:pt x="300" y="242"/>
                  <a:pt x="283" y="225"/>
                  <a:pt x="263" y="225"/>
                </a:cubicBezTo>
                <a:close/>
                <a:moveTo>
                  <a:pt x="278" y="262"/>
                </a:moveTo>
                <a:cubicBezTo>
                  <a:pt x="278" y="271"/>
                  <a:pt x="271" y="277"/>
                  <a:pt x="263" y="277"/>
                </a:cubicBezTo>
                <a:cubicBezTo>
                  <a:pt x="254" y="277"/>
                  <a:pt x="248" y="271"/>
                  <a:pt x="248" y="262"/>
                </a:cubicBezTo>
                <a:cubicBezTo>
                  <a:pt x="248" y="254"/>
                  <a:pt x="254" y="247"/>
                  <a:pt x="263" y="247"/>
                </a:cubicBezTo>
                <a:cubicBezTo>
                  <a:pt x="271" y="247"/>
                  <a:pt x="278" y="254"/>
                  <a:pt x="278" y="262"/>
                </a:cubicBezTo>
                <a:close/>
                <a:moveTo>
                  <a:pt x="162" y="162"/>
                </a:moveTo>
                <a:cubicBezTo>
                  <a:pt x="162" y="174"/>
                  <a:pt x="162" y="174"/>
                  <a:pt x="162" y="174"/>
                </a:cubicBezTo>
                <a:cubicBezTo>
                  <a:pt x="257" y="174"/>
                  <a:pt x="257" y="174"/>
                  <a:pt x="257" y="174"/>
                </a:cubicBezTo>
                <a:cubicBezTo>
                  <a:pt x="257" y="207"/>
                  <a:pt x="257" y="207"/>
                  <a:pt x="257" y="207"/>
                </a:cubicBezTo>
                <a:cubicBezTo>
                  <a:pt x="269" y="207"/>
                  <a:pt x="269" y="207"/>
                  <a:pt x="269" y="207"/>
                </a:cubicBezTo>
                <a:cubicBezTo>
                  <a:pt x="269" y="162"/>
                  <a:pt x="269" y="162"/>
                  <a:pt x="269" y="162"/>
                </a:cubicBezTo>
                <a:lnTo>
                  <a:pt x="162" y="162"/>
                </a:lnTo>
                <a:close/>
                <a:moveTo>
                  <a:pt x="65" y="162"/>
                </a:moveTo>
                <a:cubicBezTo>
                  <a:pt x="63" y="163"/>
                  <a:pt x="62" y="164"/>
                  <a:pt x="60" y="166"/>
                </a:cubicBezTo>
                <a:cubicBezTo>
                  <a:pt x="58" y="168"/>
                  <a:pt x="56" y="171"/>
                  <a:pt x="55" y="174"/>
                </a:cubicBezTo>
                <a:cubicBezTo>
                  <a:pt x="138" y="174"/>
                  <a:pt x="138" y="174"/>
                  <a:pt x="138" y="174"/>
                </a:cubicBezTo>
                <a:cubicBezTo>
                  <a:pt x="138" y="162"/>
                  <a:pt x="138" y="162"/>
                  <a:pt x="138" y="162"/>
                </a:cubicBezTo>
                <a:lnTo>
                  <a:pt x="65" y="162"/>
                </a:lnTo>
                <a:close/>
                <a:moveTo>
                  <a:pt x="38" y="76"/>
                </a:moveTo>
                <a:cubicBezTo>
                  <a:pt x="9" y="105"/>
                  <a:pt x="9" y="105"/>
                  <a:pt x="9" y="105"/>
                </a:cubicBezTo>
                <a:cubicBezTo>
                  <a:pt x="32" y="105"/>
                  <a:pt x="32" y="105"/>
                  <a:pt x="32" y="105"/>
                </a:cubicBezTo>
                <a:cubicBezTo>
                  <a:pt x="32" y="167"/>
                  <a:pt x="32" y="167"/>
                  <a:pt x="32" y="167"/>
                </a:cubicBezTo>
                <a:cubicBezTo>
                  <a:pt x="34" y="160"/>
                  <a:pt x="38" y="154"/>
                  <a:pt x="43" y="149"/>
                </a:cubicBezTo>
                <a:cubicBezTo>
                  <a:pt x="43" y="149"/>
                  <a:pt x="43" y="148"/>
                  <a:pt x="44" y="148"/>
                </a:cubicBezTo>
                <a:cubicBezTo>
                  <a:pt x="44" y="105"/>
                  <a:pt x="44" y="105"/>
                  <a:pt x="44" y="105"/>
                </a:cubicBezTo>
                <a:cubicBezTo>
                  <a:pt x="66" y="105"/>
                  <a:pt x="66" y="105"/>
                  <a:pt x="66" y="105"/>
                </a:cubicBezTo>
                <a:lnTo>
                  <a:pt x="38" y="76"/>
                </a:lnTo>
                <a:close/>
                <a:moveTo>
                  <a:pt x="215" y="85"/>
                </a:moveTo>
                <a:cubicBezTo>
                  <a:pt x="235" y="105"/>
                  <a:pt x="235" y="105"/>
                  <a:pt x="235" y="105"/>
                </a:cubicBezTo>
                <a:cubicBezTo>
                  <a:pt x="231" y="101"/>
                  <a:pt x="231" y="101"/>
                  <a:pt x="231" y="101"/>
                </a:cubicBezTo>
                <a:cubicBezTo>
                  <a:pt x="208" y="123"/>
                  <a:pt x="185" y="133"/>
                  <a:pt x="162" y="137"/>
                </a:cubicBezTo>
                <a:cubicBezTo>
                  <a:pt x="162" y="149"/>
                  <a:pt x="162" y="149"/>
                  <a:pt x="162" y="149"/>
                </a:cubicBezTo>
                <a:cubicBezTo>
                  <a:pt x="187" y="145"/>
                  <a:pt x="214" y="135"/>
                  <a:pt x="239" y="109"/>
                </a:cubicBezTo>
                <a:cubicBezTo>
                  <a:pt x="255" y="125"/>
                  <a:pt x="255" y="125"/>
                  <a:pt x="255" y="125"/>
                </a:cubicBezTo>
                <a:cubicBezTo>
                  <a:pt x="255" y="85"/>
                  <a:pt x="255" y="85"/>
                  <a:pt x="255" y="85"/>
                </a:cubicBezTo>
                <a:lnTo>
                  <a:pt x="215" y="85"/>
                </a:lnTo>
                <a:close/>
                <a:moveTo>
                  <a:pt x="111" y="139"/>
                </a:moveTo>
                <a:cubicBezTo>
                  <a:pt x="85" y="139"/>
                  <a:pt x="62" y="138"/>
                  <a:pt x="47" y="153"/>
                </a:cubicBezTo>
                <a:cubicBezTo>
                  <a:pt x="46" y="154"/>
                  <a:pt x="45" y="156"/>
                  <a:pt x="44" y="157"/>
                </a:cubicBezTo>
                <a:cubicBezTo>
                  <a:pt x="40" y="162"/>
                  <a:pt x="37" y="167"/>
                  <a:pt x="35" y="174"/>
                </a:cubicBezTo>
                <a:cubicBezTo>
                  <a:pt x="33" y="183"/>
                  <a:pt x="32" y="194"/>
                  <a:pt x="32" y="207"/>
                </a:cubicBezTo>
                <a:cubicBezTo>
                  <a:pt x="44" y="207"/>
                  <a:pt x="44" y="207"/>
                  <a:pt x="44" y="207"/>
                </a:cubicBezTo>
                <a:cubicBezTo>
                  <a:pt x="44" y="193"/>
                  <a:pt x="45" y="182"/>
                  <a:pt x="48" y="174"/>
                </a:cubicBezTo>
                <a:cubicBezTo>
                  <a:pt x="50" y="169"/>
                  <a:pt x="52" y="165"/>
                  <a:pt x="55" y="162"/>
                </a:cubicBezTo>
                <a:cubicBezTo>
                  <a:pt x="56" y="162"/>
                  <a:pt x="56" y="162"/>
                  <a:pt x="56" y="161"/>
                </a:cubicBezTo>
                <a:cubicBezTo>
                  <a:pt x="67" y="150"/>
                  <a:pt x="86" y="151"/>
                  <a:pt x="110" y="151"/>
                </a:cubicBezTo>
                <a:cubicBezTo>
                  <a:pt x="119" y="151"/>
                  <a:pt x="128" y="152"/>
                  <a:pt x="138" y="151"/>
                </a:cubicBezTo>
                <a:cubicBezTo>
                  <a:pt x="138" y="139"/>
                  <a:pt x="138" y="139"/>
                  <a:pt x="138" y="139"/>
                </a:cubicBezTo>
                <a:cubicBezTo>
                  <a:pt x="128" y="140"/>
                  <a:pt x="119" y="139"/>
                  <a:pt x="111" y="139"/>
                </a:cubicBezTo>
                <a:close/>
                <a:moveTo>
                  <a:pt x="179" y="105"/>
                </a:moveTo>
                <a:cubicBezTo>
                  <a:pt x="150" y="76"/>
                  <a:pt x="150" y="76"/>
                  <a:pt x="150" y="76"/>
                </a:cubicBezTo>
                <a:cubicBezTo>
                  <a:pt x="122" y="105"/>
                  <a:pt x="122" y="105"/>
                  <a:pt x="122" y="105"/>
                </a:cubicBezTo>
                <a:cubicBezTo>
                  <a:pt x="144" y="105"/>
                  <a:pt x="144" y="105"/>
                  <a:pt x="144" y="105"/>
                </a:cubicBezTo>
                <a:cubicBezTo>
                  <a:pt x="144" y="207"/>
                  <a:pt x="144" y="207"/>
                  <a:pt x="144" y="207"/>
                </a:cubicBezTo>
                <a:cubicBezTo>
                  <a:pt x="156" y="207"/>
                  <a:pt x="156" y="207"/>
                  <a:pt x="156" y="207"/>
                </a:cubicBezTo>
                <a:cubicBezTo>
                  <a:pt x="156" y="105"/>
                  <a:pt x="156" y="105"/>
                  <a:pt x="156" y="105"/>
                </a:cubicBezTo>
                <a:lnTo>
                  <a:pt x="179" y="10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40964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500" fill="hold"/>
                                        <p:tgtEl>
                                          <p:spTgt spid="10"/>
                                        </p:tgtEl>
                                        <p:attrNameLst>
                                          <p:attrName>ppt_x</p:attrName>
                                        </p:attrNameLst>
                                      </p:cBhvr>
                                      <p:tavLst>
                                        <p:tav tm="0">
                                          <p:val>
                                            <p:strVal val="1+#ppt_w/2"/>
                                          </p:val>
                                        </p:tav>
                                        <p:tav tm="100000">
                                          <p:val>
                                            <p:strVal val="#ppt_x"/>
                                          </p:val>
                                        </p:tav>
                                      </p:tavLst>
                                    </p:anim>
                                    <p:anim calcmode="lin" valueType="num">
                                      <p:cBhvr additive="base">
                                        <p:cTn id="12" dur="500" fill="hold"/>
                                        <p:tgtEl>
                                          <p:spTgt spid="10"/>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500"/>
                                  </p:stCondLst>
                                  <p:childTnLst>
                                    <p:set>
                                      <p:cBhvr>
                                        <p:cTn id="14" dur="1" fill="hold">
                                          <p:stCondLst>
                                            <p:cond delay="0"/>
                                          </p:stCondLst>
                                        </p:cTn>
                                        <p:tgtEl>
                                          <p:spTgt spid="15"/>
                                        </p:tgtEl>
                                        <p:attrNameLst>
                                          <p:attrName>style.visibility</p:attrName>
                                        </p:attrNameLst>
                                      </p:cBhvr>
                                      <p:to>
                                        <p:strVal val="visible"/>
                                      </p:to>
                                    </p:set>
                                    <p:anim calcmode="lin" valueType="num">
                                      <p:cBhvr additive="base">
                                        <p:cTn id="15" dur="500" fill="hold"/>
                                        <p:tgtEl>
                                          <p:spTgt spid="15"/>
                                        </p:tgtEl>
                                        <p:attrNameLst>
                                          <p:attrName>ppt_x</p:attrName>
                                        </p:attrNameLst>
                                      </p:cBhvr>
                                      <p:tavLst>
                                        <p:tav tm="0">
                                          <p:val>
                                            <p:strVal val="1+#ppt_w/2"/>
                                          </p:val>
                                        </p:tav>
                                        <p:tav tm="100000">
                                          <p:val>
                                            <p:strVal val="#ppt_x"/>
                                          </p:val>
                                        </p:tav>
                                      </p:tavLst>
                                    </p:anim>
                                    <p:anim calcmode="lin" valueType="num">
                                      <p:cBhvr additive="base">
                                        <p:cTn id="16" dur="500" fill="hold"/>
                                        <p:tgtEl>
                                          <p:spTgt spid="1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5" grpId="0" build="p"/>
      <p:bldP spid="15"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04209196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75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What about data?</a:t>
            </a:r>
            <a:endParaRPr lang="en-US" dirty="0"/>
          </a:p>
        </p:txBody>
      </p:sp>
      <p:sp>
        <p:nvSpPr>
          <p:cNvPr id="11" name="Content Placeholder 10"/>
          <p:cNvSpPr>
            <a:spLocks noGrp="1"/>
          </p:cNvSpPr>
          <p:nvPr>
            <p:ph type="body" sz="quarter" idx="10"/>
            <p:custDataLst>
              <p:tags r:id="rId4"/>
            </p:custDataLst>
          </p:nvPr>
        </p:nvSpPr>
        <p:spPr>
          <a:xfrm>
            <a:off x="519112" y="1447799"/>
            <a:ext cx="11149013" cy="1483483"/>
          </a:xfrm>
        </p:spPr>
        <p:txBody>
          <a:bodyPr/>
          <a:lstStyle/>
          <a:p>
            <a:pPr>
              <a:spcAft>
                <a:spcPts val="1200"/>
              </a:spcAft>
            </a:pPr>
            <a:r>
              <a:rPr lang="en-US" dirty="0" err="1" smtClean="0">
                <a:gradFill>
                  <a:gsLst>
                    <a:gs pos="0">
                      <a:schemeClr val="accent2"/>
                    </a:gs>
                    <a:gs pos="100000">
                      <a:schemeClr val="accent2"/>
                    </a:gs>
                  </a:gsLst>
                  <a:lin ang="5400000" scaled="0"/>
                </a:gradFill>
                <a:latin typeface="Segoe UI Light" pitchFamily="34" charset="0"/>
              </a:rPr>
              <a:t>WebMatrix</a:t>
            </a:r>
            <a:r>
              <a:rPr lang="en-US" dirty="0" smtClean="0">
                <a:gradFill>
                  <a:gsLst>
                    <a:gs pos="0">
                      <a:schemeClr val="accent2"/>
                    </a:gs>
                    <a:gs pos="100000">
                      <a:schemeClr val="accent2"/>
                    </a:gs>
                  </a:gsLst>
                  <a:lin ang="5400000" scaled="0"/>
                </a:gradFill>
                <a:latin typeface="Segoe UI Light" pitchFamily="34" charset="0"/>
              </a:rPr>
              <a:t> Database Editing</a:t>
            </a:r>
          </a:p>
          <a:p>
            <a:pPr>
              <a:spcAft>
                <a:spcPts val="1200"/>
              </a:spcAft>
            </a:pPr>
            <a:r>
              <a:rPr lang="en-US" dirty="0" smtClean="0"/>
              <a:t>You can edit the schema of a site’s database</a:t>
            </a:r>
            <a:br>
              <a:rPr lang="en-US" dirty="0" smtClean="0"/>
            </a:br>
            <a:r>
              <a:rPr lang="en-US" dirty="0" smtClean="0"/>
              <a:t>or the data itself from within the IDE</a:t>
            </a:r>
            <a:endParaRPr lang="en-US" dirty="0"/>
          </a:p>
        </p:txBody>
      </p:sp>
      <p:sp>
        <p:nvSpPr>
          <p:cNvPr id="6" name="Rectangle 5"/>
          <p:cNvSpPr/>
          <p:nvPr/>
        </p:nvSpPr>
        <p:spPr bwMode="auto">
          <a:xfrm>
            <a:off x="9072081" y="1141413"/>
            <a:ext cx="2603981" cy="571658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 name="Freeform 83"/>
          <p:cNvSpPr>
            <a:spLocks noEditPoints="1"/>
          </p:cNvSpPr>
          <p:nvPr/>
        </p:nvSpPr>
        <p:spPr bwMode="black">
          <a:xfrm>
            <a:off x="9275862" y="1447799"/>
            <a:ext cx="2196417" cy="2318597"/>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108577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25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ppt_x"/>
                                          </p:val>
                                        </p:tav>
                                        <p:tav tm="100000">
                                          <p:val>
                                            <p:strVal val="#ppt_x"/>
                                          </p:val>
                                        </p:tav>
                                      </p:tavLst>
                                    </p:anim>
                                    <p:anim calcmode="lin" valueType="num">
                                      <p:cBhvr additive="base">
                                        <p:cTn id="12"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z8wvpVT650CuEZCub0M4Q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z8wvpVT650CuEZCub0M4Q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2.xml><?xml version="1.0" encoding="utf-8"?>
<ds:datastoreItem xmlns:ds="http://schemas.openxmlformats.org/officeDocument/2006/customXml" ds:itemID="{69B2F97D-0457-4986-9734-D03EB073C5EA}">
  <ds:schemaRefs>
    <ds:schemaRef ds:uri="http://www.w3.org/XML/1998/namespace"/>
    <ds:schemaRef ds:uri="http://schemas.microsoft.com/office/infopath/2007/PartnerControls"/>
    <ds:schemaRef ds:uri="http://purl.org/dc/elements/1.1/"/>
    <ds:schemaRef ds:uri="230e9df3-be65-4c73-a93b-d1236ebd677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purl.org/dc/terms/"/>
  </ds:schemaRefs>
</ds:datastoreItem>
</file>

<file path=customXml/itemProps3.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2982</TotalTime>
  <Words>106</Words>
  <Application>Microsoft Office PowerPoint</Application>
  <PresentationFormat>Custom</PresentationFormat>
  <Paragraphs>38</Paragraphs>
  <Slides>12</Slides>
  <Notes>10</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2</vt:i4>
      </vt:variant>
    </vt:vector>
  </HeadingPairs>
  <TitlesOfParts>
    <vt:vector size="19" baseType="lpstr">
      <vt:lpstr>Arial</vt:lpstr>
      <vt:lpstr>Segoe UI Light</vt:lpstr>
      <vt:lpstr>Segoe UI</vt:lpstr>
      <vt:lpstr>Consolas</vt:lpstr>
      <vt:lpstr>MS1444_Windows Azure Template 16x9_r08b</vt:lpstr>
      <vt:lpstr>White with Consolas font for code slides</vt:lpstr>
      <vt:lpstr>think-cell Slide</vt:lpstr>
      <vt:lpstr>WebMatrix 2.0 The Most Comprehensive IDE You Never Remember</vt:lpstr>
      <vt:lpstr>Agenda </vt:lpstr>
      <vt:lpstr>PowerPoint Presentation</vt:lpstr>
      <vt:lpstr>WebMatrix gives you options</vt:lpstr>
      <vt:lpstr>WebMatrix gives you options</vt:lpstr>
      <vt:lpstr>WebMatrix gives you options</vt:lpstr>
      <vt:lpstr>Code Completion</vt:lpstr>
      <vt:lpstr>Code Completion</vt:lpstr>
      <vt:lpstr>What about data?</vt:lpstr>
      <vt:lpstr>Creating New Sites</vt:lpstr>
      <vt:lpstr>PowerPoint Presentation</vt:lpstr>
      <vt:lpstr>Start copying from “04-Learning WebMatrix.pptx”</vt:lpstr>
    </vt:vector>
  </TitlesOfParts>
  <Company>Artitudes Desig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Artitudes Design</dc:creator>
  <cp:lastModifiedBy>Brady Gaster</cp:lastModifiedBy>
  <cp:revision>273</cp:revision>
  <cp:lastPrinted>2011-10-11T14:25:22Z</cp:lastPrinted>
  <dcterms:created xsi:type="dcterms:W3CDTF">2011-03-29T16:07:22Z</dcterms:created>
  <dcterms:modified xsi:type="dcterms:W3CDTF">2012-03-09T19:58: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